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66" r:id="rId5"/>
    <p:sldMasterId id="2147483838" r:id="rId6"/>
  </p:sldMasterIdLst>
  <p:notesMasterIdLst>
    <p:notesMasterId r:id="rId49"/>
  </p:notesMasterIdLst>
  <p:handoutMasterIdLst>
    <p:handoutMasterId r:id="rId50"/>
  </p:handoutMasterIdLst>
  <p:sldIdLst>
    <p:sldId id="296" r:id="rId7"/>
    <p:sldId id="410" r:id="rId8"/>
    <p:sldId id="479" r:id="rId9"/>
    <p:sldId id="480" r:id="rId10"/>
    <p:sldId id="484" r:id="rId11"/>
    <p:sldId id="486" r:id="rId12"/>
    <p:sldId id="487" r:id="rId13"/>
    <p:sldId id="453" r:id="rId14"/>
    <p:sldId id="450" r:id="rId15"/>
    <p:sldId id="461" r:id="rId16"/>
    <p:sldId id="495" r:id="rId17"/>
    <p:sldId id="458" r:id="rId18"/>
    <p:sldId id="473" r:id="rId19"/>
    <p:sldId id="471" r:id="rId20"/>
    <p:sldId id="470" r:id="rId21"/>
    <p:sldId id="496" r:id="rId22"/>
    <p:sldId id="472" r:id="rId23"/>
    <p:sldId id="474" r:id="rId24"/>
    <p:sldId id="475" r:id="rId25"/>
    <p:sldId id="439" r:id="rId26"/>
    <p:sldId id="452" r:id="rId27"/>
    <p:sldId id="466" r:id="rId28"/>
    <p:sldId id="455" r:id="rId29"/>
    <p:sldId id="456" r:id="rId30"/>
    <p:sldId id="457" r:id="rId31"/>
    <p:sldId id="454" r:id="rId32"/>
    <p:sldId id="464" r:id="rId33"/>
    <p:sldId id="468" r:id="rId34"/>
    <p:sldId id="469" r:id="rId35"/>
    <p:sldId id="465" r:id="rId36"/>
    <p:sldId id="463" r:id="rId37"/>
    <p:sldId id="428" r:id="rId38"/>
    <p:sldId id="429" r:id="rId39"/>
    <p:sldId id="498" r:id="rId40"/>
    <p:sldId id="490" r:id="rId41"/>
    <p:sldId id="489" r:id="rId42"/>
    <p:sldId id="491" r:id="rId43"/>
    <p:sldId id="493" r:id="rId44"/>
    <p:sldId id="488" r:id="rId45"/>
    <p:sldId id="269" r:id="rId46"/>
    <p:sldId id="444" r:id="rId47"/>
    <p:sldId id="351" r:id="rId48"/>
  </p:sldIdLst>
  <p:sldSz cx="12192000" cy="6858000"/>
  <p:notesSz cx="6858000" cy="9144000"/>
  <p:custDataLst>
    <p:tags r:id="rId5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10"/>
            <p14:sldId id="479"/>
            <p14:sldId id="480"/>
            <p14:sldId id="484"/>
            <p14:sldId id="486"/>
            <p14:sldId id="487"/>
            <p14:sldId id="453"/>
            <p14:sldId id="450"/>
            <p14:sldId id="461"/>
            <p14:sldId id="495"/>
            <p14:sldId id="458"/>
            <p14:sldId id="473"/>
            <p14:sldId id="471"/>
            <p14:sldId id="470"/>
            <p14:sldId id="496"/>
            <p14:sldId id="472"/>
            <p14:sldId id="474"/>
            <p14:sldId id="475"/>
            <p14:sldId id="439"/>
            <p14:sldId id="452"/>
            <p14:sldId id="466"/>
            <p14:sldId id="455"/>
            <p14:sldId id="456"/>
            <p14:sldId id="457"/>
            <p14:sldId id="454"/>
            <p14:sldId id="464"/>
            <p14:sldId id="468"/>
            <p14:sldId id="469"/>
            <p14:sldId id="465"/>
            <p14:sldId id="463"/>
            <p14:sldId id="428"/>
            <p14:sldId id="429"/>
            <p14:sldId id="498"/>
            <p14:sldId id="490"/>
            <p14:sldId id="489"/>
            <p14:sldId id="491"/>
            <p14:sldId id="493"/>
            <p14:sldId id="488"/>
            <p14:sldId id="269"/>
            <p14:sldId id="444"/>
            <p14:sldId id="351"/>
          </p14:sldIdLst>
        </p14:section>
        <p14:section name="Backup" id="{5155A5DC-8520-43D7-9F08-69E81E9A7239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2A070F-273B-4349-BA1E-882A854A6DEA}" v="323" dt="2020-06-25T09:22:52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291" autoAdjust="0"/>
  </p:normalViewPr>
  <p:slideViewPr>
    <p:cSldViewPr>
      <p:cViewPr varScale="1">
        <p:scale>
          <a:sx n="157" d="100"/>
          <a:sy n="157" d="100"/>
        </p:scale>
        <p:origin x="114" y="13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microsoft.com/office/2015/10/relationships/revisionInfo" Target="revisionInfo.xml"/><Relationship Id="rId8" Type="http://schemas.openxmlformats.org/officeDocument/2006/relationships/slide" Target="slides/slide2.xml"/><Relationship Id="rId51" Type="http://schemas.openxmlformats.org/officeDocument/2006/relationships/tags" Target="tags/tag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30/11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30/11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8DC6A54A-9BF8-4F66-8401-A8591C494FA5}"/>
              </a:ext>
            </a:extLst>
          </p:cNvPr>
          <p:cNvGrpSpPr/>
          <p:nvPr userDrawn="1"/>
        </p:nvGrpSpPr>
        <p:grpSpPr>
          <a:xfrm>
            <a:off x="0" y="0"/>
            <a:ext cx="7102050" cy="6410325"/>
            <a:chOff x="4563414" y="273880"/>
            <a:chExt cx="7102050" cy="641032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158D16-9C05-4713-8244-FC00FD82627D}"/>
                </a:ext>
              </a:extLst>
            </p:cNvPr>
            <p:cNvSpPr/>
            <p:nvPr/>
          </p:nvSpPr>
          <p:spPr>
            <a:xfrm>
              <a:off x="6350514" y="273880"/>
              <a:ext cx="5314950" cy="6400800"/>
            </a:xfrm>
            <a:custGeom>
              <a:avLst/>
              <a:gdLst>
                <a:gd name="connsiteX0" fmla="*/ 1655948 w 5314950"/>
                <a:gd name="connsiteY0" fmla="*/ 6400990 h 6400800"/>
                <a:gd name="connsiteX1" fmla="*/ 1648518 w 5314950"/>
                <a:gd name="connsiteY1" fmla="*/ 6401467 h 6400800"/>
                <a:gd name="connsiteX2" fmla="*/ 5313548 w 5314950"/>
                <a:gd name="connsiteY2" fmla="*/ 3303080 h 6400800"/>
                <a:gd name="connsiteX3" fmla="*/ 4721188 w 5314950"/>
                <a:gd name="connsiteY3" fmla="*/ 7144 h 6400800"/>
                <a:gd name="connsiteX4" fmla="*/ 1686428 w 5314950"/>
                <a:gd name="connsiteY4" fmla="*/ 7144 h 6400800"/>
                <a:gd name="connsiteX5" fmla="*/ 1655948 w 5314950"/>
                <a:gd name="connsiteY5" fmla="*/ 6400990 h 640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4950" h="6400800">
                  <a:moveTo>
                    <a:pt x="1655948" y="6400990"/>
                  </a:moveTo>
                  <a:cubicBezTo>
                    <a:pt x="1653471" y="6401181"/>
                    <a:pt x="1650995" y="6401276"/>
                    <a:pt x="1648518" y="6401467"/>
                  </a:cubicBezTo>
                  <a:cubicBezTo>
                    <a:pt x="3466746" y="6339364"/>
                    <a:pt x="5047229" y="5231797"/>
                    <a:pt x="5313548" y="3303080"/>
                  </a:cubicBezTo>
                  <a:cubicBezTo>
                    <a:pt x="3798787" y="2465451"/>
                    <a:pt x="4580790" y="1653159"/>
                    <a:pt x="4721188" y="7144"/>
                  </a:cubicBezTo>
                  <a:lnTo>
                    <a:pt x="1686428" y="7144"/>
                  </a:lnTo>
                  <a:cubicBezTo>
                    <a:pt x="1417442" y="2445163"/>
                    <a:pt x="-1934406" y="6146102"/>
                    <a:pt x="1655948" y="6400990"/>
                  </a:cubicBezTo>
                  <a:close/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68C303D7-566A-4588-87A6-E7E84D1C38CA}"/>
                </a:ext>
              </a:extLst>
            </p:cNvPr>
            <p:cNvSpPr/>
            <p:nvPr/>
          </p:nvSpPr>
          <p:spPr>
            <a:xfrm>
              <a:off x="4563414" y="273880"/>
              <a:ext cx="3486150" cy="6410325"/>
            </a:xfrm>
            <a:custGeom>
              <a:avLst/>
              <a:gdLst>
                <a:gd name="connsiteX0" fmla="*/ 3447193 w 3486150"/>
                <a:gd name="connsiteY0" fmla="*/ 6401372 h 6410325"/>
                <a:gd name="connsiteX1" fmla="*/ 3454622 w 3486150"/>
                <a:gd name="connsiteY1" fmla="*/ 6400896 h 6410325"/>
                <a:gd name="connsiteX2" fmla="*/ 3485103 w 3486150"/>
                <a:gd name="connsiteY2" fmla="*/ 7144 h 6410325"/>
                <a:gd name="connsiteX3" fmla="*/ 978789 w 3486150"/>
                <a:gd name="connsiteY3" fmla="*/ 7144 h 6410325"/>
                <a:gd name="connsiteX4" fmla="*/ 7144 w 3486150"/>
                <a:gd name="connsiteY4" fmla="*/ 7144 h 6410325"/>
                <a:gd name="connsiteX5" fmla="*/ 7144 w 3486150"/>
                <a:gd name="connsiteY5" fmla="*/ 5378482 h 6410325"/>
                <a:gd name="connsiteX6" fmla="*/ 3447193 w 3486150"/>
                <a:gd name="connsiteY6" fmla="*/ 6401372 h 641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86150" h="6410325">
                  <a:moveTo>
                    <a:pt x="3447193" y="6401372"/>
                  </a:moveTo>
                  <a:cubicBezTo>
                    <a:pt x="3449670" y="6401181"/>
                    <a:pt x="3452146" y="6401086"/>
                    <a:pt x="3454622" y="6400896"/>
                  </a:cubicBezTo>
                  <a:cubicBezTo>
                    <a:pt x="-135731" y="6146102"/>
                    <a:pt x="3216116" y="2445163"/>
                    <a:pt x="3485103" y="7144"/>
                  </a:cubicBezTo>
                  <a:lnTo>
                    <a:pt x="978789" y="7144"/>
                  </a:lnTo>
                  <a:lnTo>
                    <a:pt x="7144" y="7144"/>
                  </a:lnTo>
                  <a:lnTo>
                    <a:pt x="7144" y="5378482"/>
                  </a:lnTo>
                  <a:cubicBezTo>
                    <a:pt x="997268" y="6099239"/>
                    <a:pt x="2192465" y="6483097"/>
                    <a:pt x="3447193" y="6401372"/>
                  </a:cubicBezTo>
                  <a:close/>
                </a:path>
              </a:pathLst>
            </a:custGeom>
            <a:solidFill>
              <a:srgbClr val="95C11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56000" y="0"/>
            <a:ext cx="75360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1197000"/>
            <a:ext cx="4195292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68653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</a:t>
            </a:r>
            <a:r>
              <a:rPr lang="pl-PL" dirty="0">
                <a:solidFill>
                  <a:schemeClr val="bg1">
                    <a:lumMod val="65000"/>
                  </a:schemeClr>
                </a:solidFill>
              </a:rPr>
              <a:t>21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84" r:id="rId2"/>
    <p:sldLayoutId id="2147483876" r:id="rId3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nuget.org/packages/Microsoft.DotNet.PackageValidatio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evblogs.microsoft.com/dotnet/package-validation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.NET 6</a:t>
            </a:r>
          </a:p>
          <a:p>
            <a:r>
              <a:rPr lang="pl-PL" sz="1400" dirty="0"/>
              <a:t> </a:t>
            </a:r>
            <a:r>
              <a:rPr lang="pl-PL" sz="1400" dirty="0" err="1"/>
              <a:t>Long</a:t>
            </a:r>
            <a:r>
              <a:rPr lang="pl-PL" sz="1400" dirty="0"/>
              <a:t> Term </a:t>
            </a:r>
            <a:r>
              <a:rPr lang="pl-PL" sz="1400" dirty="0" err="1"/>
              <a:t>Evolution</a:t>
            </a:r>
            <a:r>
              <a:rPr lang="pl-PL" sz="1400" dirty="0"/>
              <a:t> ?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Leszek Kowalski </a:t>
            </a:r>
            <a:br>
              <a:rPr lang="pl-PL" dirty="0"/>
            </a:br>
            <a:r>
              <a:rPr lang="pl-PL" dirty="0"/>
              <a:t>Michał Bryłka </a:t>
            </a:r>
            <a:br>
              <a:rPr lang="pl-PL" dirty="0"/>
            </a:br>
            <a:r>
              <a:rPr lang="pl-PL" dirty="0"/>
              <a:t>Capgemini</a:t>
            </a: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4AAF0027-F973-4740-B437-195A28AC9ACE}"/>
              </a:ext>
            </a:extLst>
          </p:cNvPr>
          <p:cNvSpPr txBox="1">
            <a:spLocks/>
          </p:cNvSpPr>
          <p:nvPr/>
        </p:nvSpPr>
        <p:spPr>
          <a:xfrm>
            <a:off x="7392144" y="3284984"/>
            <a:ext cx="3240360" cy="87524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2000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Index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lement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^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ystem.Ran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uppor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ak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5..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3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met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Zip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verload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Non-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umerati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un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GetNonEnumerated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var count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078574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llections</a:t>
            </a:r>
            <a:endParaRPr lang="pl-PL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14EB229-B694-4347-9B3F-AD6982F778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EnsureCapacity</a:t>
            </a:r>
            <a:r>
              <a:rPr lang="pl-PL" dirty="0"/>
              <a:t> for List, </a:t>
            </a:r>
            <a:r>
              <a:rPr lang="pl-PL" dirty="0" err="1"/>
              <a:t>Stack</a:t>
            </a:r>
            <a:r>
              <a:rPr lang="pl-PL" dirty="0"/>
              <a:t>, Queue (but not Collection…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AsSpan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CollectionsMarshal.GetValueRefOrNullRef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Unsafe.IsNullRef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tringComparer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Ordinal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bool</a:t>
            </a:r>
            <a:r>
              <a:rPr lang="pl-PL" dirty="0"/>
              <a:t> </a:t>
            </a:r>
            <a:r>
              <a:rPr lang="pl-PL" dirty="0" err="1"/>
              <a:t>ignoreCase</a:t>
            </a:r>
            <a:r>
              <a:rPr lang="pl-PL" dirty="0"/>
              <a:t>);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sWellKnownCultureAwareComparer</a:t>
            </a:r>
            <a:r>
              <a:rPr lang="pl-PL" dirty="0"/>
              <a:t>(</a:t>
            </a:r>
            <a:r>
              <a:rPr lang="pl-PL" dirty="0" err="1"/>
              <a:t>comparer</a:t>
            </a:r>
            <a:r>
              <a:rPr lang="pl-PL" dirty="0"/>
              <a:t>, out </a:t>
            </a:r>
            <a:r>
              <a:rPr lang="pl-PL" dirty="0" err="1"/>
              <a:t>CompareInfo</a:t>
            </a:r>
            <a:r>
              <a:rPr lang="pl-PL" dirty="0"/>
              <a:t> </a:t>
            </a:r>
            <a:r>
              <a:rPr lang="pl-PL" dirty="0" err="1"/>
              <a:t>compareInfo</a:t>
            </a:r>
            <a:r>
              <a:rPr lang="pl-PL" dirty="0"/>
              <a:t>, out </a:t>
            </a:r>
            <a:r>
              <a:rPr lang="pl-PL" dirty="0" err="1"/>
              <a:t>CompareOptions</a:t>
            </a:r>
            <a:r>
              <a:rPr lang="pl-PL" dirty="0"/>
              <a:t> </a:t>
            </a:r>
            <a:r>
              <a:rPr lang="pl-PL" dirty="0" err="1"/>
              <a:t>compareOptions</a:t>
            </a:r>
            <a:r>
              <a:rPr lang="pl-PL" dirty="0"/>
              <a:t>);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823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2132856"/>
            <a:ext cx="7920880" cy="3788656"/>
          </a:xfrm>
        </p:spPr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PriorityQue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);</a:t>
            </a:r>
          </a:p>
          <a:p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Michał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ojciech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Enqueu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Jarosław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pQueue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ryDequeue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? name,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ou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ow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enum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Job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hysici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Developer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Politicia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PriorityQueue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A674A5-DCD9-4D32-AFED-8A054BD5810D}"/>
              </a:ext>
            </a:extLst>
          </p:cNvPr>
          <p:cNvSpPr txBox="1"/>
          <p:nvPr/>
        </p:nvSpPr>
        <p:spPr>
          <a:xfrm>
            <a:off x="8472264" y="3861048"/>
            <a:ext cx="3168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Wojciech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Michał</a:t>
            </a:r>
          </a:p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Serve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ow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 Jarosła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3887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08720"/>
          </a:xfrm>
        </p:spPr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59" y="1340768"/>
            <a:ext cx="11629291" cy="5112568"/>
          </a:xfrm>
        </p:spPr>
        <p:txBody>
          <a:bodyPr>
            <a:normAutofit fontScale="85000" lnSpcReduction="2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afeFileHand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andle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Access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ccess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s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hange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o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Stream.Position</a:t>
            </a: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Not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rializ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o OS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pd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f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eration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iz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and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ption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Acce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leteOnClo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…)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pecification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FileStream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*...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*/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leOption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Options,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ffer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4096,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reallocationSiz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Vectore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catt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ather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I/O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tomicity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catenate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outpu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fficiency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Leng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33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For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/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eekBackwar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10-100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rite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5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Read/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Wri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up to 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6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times faster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endParaRPr lang="pl-PL" sz="1600" b="0" i="0" dirty="0">
              <a:solidFill>
                <a:srgbClr val="000000"/>
              </a:solidFill>
              <a:effectLst/>
              <a:latin typeface="Cascadia Mono" panose="020B0609020000020004" pitchFamily="49" charset="0"/>
            </a:endParaRPr>
          </a:p>
          <a:p>
            <a:endParaRPr lang="pl-PL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764704"/>
            <a:ext cx="11700000" cy="504056"/>
          </a:xfrm>
        </p:spPr>
        <p:txBody>
          <a:bodyPr/>
          <a:lstStyle/>
          <a:p>
            <a:r>
              <a:rPr lang="pl-PL" dirty="0"/>
              <a:t>File and I/O</a:t>
            </a:r>
          </a:p>
        </p:txBody>
      </p:sp>
    </p:spTree>
    <p:extLst>
      <p:ext uri="{BB962C8B-B14F-4D97-AF65-F5344CB8AC3E}">
        <p14:creationId xmlns:p14="http://schemas.microsoft.com/office/powerpoint/2010/main" val="4061182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>
            <a:normAutofit lnSpcReduction="10000"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nsafe</a:t>
            </a:r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42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 numbers = 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*)</a:t>
            </a:r>
            <a:r>
              <a:rPr lang="en-US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en-US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Alloc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, </a:t>
            </a:r>
            <a:r>
              <a:rPr lang="en-US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0] = 42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1] = 420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++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n = *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NativeMemory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Fre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Native </a:t>
            </a:r>
            <a:r>
              <a:rPr lang="pl-PL" dirty="0" err="1"/>
              <a:t>allo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081103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9654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ask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aitAsyn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timeout,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stea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of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in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!!!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.TryReset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(!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.TryRese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)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t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ancellationToke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syn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3980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4008" y="913604"/>
            <a:ext cx="11700000" cy="504056"/>
          </a:xfrm>
        </p:spPr>
        <p:txBody>
          <a:bodyPr/>
          <a:lstStyle/>
          <a:p>
            <a:r>
              <a:rPr lang="pl-PL" dirty="0" err="1"/>
              <a:t>Timer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2A75462-3456-4B10-BCEF-D4C7740A21F6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Timer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Threading.Timer</a:t>
            </a:r>
            <a:r>
              <a:rPr lang="pl-PL" sz="1400" dirty="0"/>
              <a:t>, </a:t>
            </a:r>
            <a:r>
              <a:rPr lang="pl-PL" sz="1400" dirty="0" err="1"/>
              <a:t>System.Timers.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indows.Forms.Timer</a:t>
            </a:r>
            <a:r>
              <a:rPr lang="pl-PL" sz="1400" dirty="0"/>
              <a:t>, </a:t>
            </a:r>
            <a:r>
              <a:rPr lang="pl-PL" sz="1400" dirty="0" err="1"/>
              <a:t>System.Windows.Threading.DispatcherTimer</a:t>
            </a:r>
            <a:endParaRPr lang="pl-PL" sz="1400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/>
              <a:t>System.Web.UI.Timer</a:t>
            </a:r>
            <a:endParaRPr lang="pl-PL" sz="1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PeriodicTimer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Single </a:t>
            </a:r>
            <a:r>
              <a:rPr lang="pl-PL" dirty="0" err="1"/>
              <a:t>consumer</a:t>
            </a:r>
            <a:r>
              <a:rPr lang="pl-PL" dirty="0"/>
              <a:t> </a:t>
            </a:r>
            <a:r>
              <a:rPr lang="pl-PL" dirty="0" err="1"/>
              <a:t>only</a:t>
            </a:r>
            <a:r>
              <a:rPr lang="pl-PL" dirty="0"/>
              <a:t>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Callback</a:t>
            </a:r>
            <a:r>
              <a:rPr lang="pl-PL" dirty="0"/>
              <a:t>-less </a:t>
            </a:r>
            <a:r>
              <a:rPr lang="pl-PL" dirty="0" err="1"/>
              <a:t>aproach</a:t>
            </a:r>
            <a:r>
              <a:rPr lang="pl-PL" dirty="0"/>
              <a:t> with </a:t>
            </a:r>
            <a:r>
              <a:rPr lang="pl-PL" dirty="0" err="1"/>
              <a:t>async</a:t>
            </a:r>
            <a:r>
              <a:rPr lang="pl-PL" dirty="0"/>
              <a:t>, no </a:t>
            </a:r>
            <a:r>
              <a:rPr lang="pl-PL" dirty="0" err="1"/>
              <a:t>sync-over-async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F71471-5828-4771-86F4-90A9B94E5A4E}"/>
              </a:ext>
            </a:extLst>
          </p:cNvPr>
          <p:cNvSpPr txBox="1"/>
          <p:nvPr/>
        </p:nvSpPr>
        <p:spPr>
          <a:xfrm>
            <a:off x="2999656" y="5085184"/>
            <a:ext cx="636198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iodicTim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Span.FromSecond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0)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whi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r.WaitForNextTick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){ 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580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0369152" cy="4824536"/>
          </a:xfrm>
        </p:spPr>
        <p:txBody>
          <a:bodyPr>
            <a:normAutofit fontScale="85000" lnSpcReduction="20000"/>
          </a:bodyPr>
          <a:lstStyle/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erformWork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=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2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1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??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 err="1">
                <a:solidFill>
                  <a:srgbClr val="A31515"/>
                </a:solidFill>
                <a:latin typeface="Cascadia Mono" panose="020B0609020000020004" pitchFamily="49" charset="0"/>
              </a:rPr>
              <a:t>default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localText2 = text ??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thro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text)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PerformWork3(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umentNullException.ThrowIfNull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x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3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use</a:t>
            </a:r>
            <a:r>
              <a:rPr lang="pl-PL" sz="3300" dirty="0">
                <a:solidFill>
                  <a:srgbClr val="000000"/>
                </a:solidFill>
                <a:latin typeface="Cascadia Mono" panose="020B0609020000020004" pitchFamily="49" charset="0"/>
              </a:rPr>
              <a:t> NRT !!!</a:t>
            </a:r>
            <a:endParaRPr lang="pl-PL" sz="3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36488"/>
            <a:ext cx="11700000" cy="504056"/>
          </a:xfrm>
        </p:spPr>
        <p:txBody>
          <a:bodyPr/>
          <a:lstStyle/>
          <a:p>
            <a:r>
              <a:rPr lang="pl-PL" dirty="0" err="1"/>
              <a:t>Nullabl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396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1728192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Id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4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Environment.ProcessPath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[]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andomNumberGenerator.GetByte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200)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allel.ForEachAsync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 (DEMO)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6CFBF-EF44-45B6-8A82-A1718CA98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3323321"/>
            <a:ext cx="2600688" cy="193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596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CF55-E365-45E4-9FAD-99ABDCAD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A579C-5F47-4C00-8928-CB981F061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1556792"/>
            <a:ext cx="11161240" cy="4824536"/>
          </a:xfrm>
        </p:spPr>
        <p:txBody>
          <a:bodyPr>
            <a:normAutofit/>
          </a:bodyPr>
          <a:lstStyle/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askCompletionSourc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Registration.Creat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osixSignal.SIGIN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=&gt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sole.WriteLine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.Signal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fired</a:t>
            </a:r>
            <a:r>
              <a:rPr lang="pl-PL" sz="14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rySetResul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endParaRPr lang="pl-PL" sz="1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wait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4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cs.Task</a:t>
            </a:r>
            <a:r>
              <a:rPr lang="pl-PL" sz="14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4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FF653F-0C1A-43BF-B4B7-D90CECD3D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Community-driven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676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F01F4-0D57-4C94-888E-61E035336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06C58-EFF8-4A65-B0F8-A19CBD9FC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1412777"/>
            <a:ext cx="11447972" cy="486877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T 6 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</a:t>
            </a:r>
            <a:r>
              <a:rPr lang="pl-PL" dirty="0" err="1"/>
              <a:t>Feature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Performance improvement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C# 10.0</a:t>
            </a:r>
          </a:p>
          <a:p>
            <a:pPr marL="609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New featur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em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/>
              <a:t>Discussion Pan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37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1FA0FC-EC21-4279-A32A-3C773091D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lnSpc>
                <a:spcPct val="150000"/>
              </a:lnSpc>
            </a:pPr>
            <a:r>
              <a:rPr lang="pl-PL" dirty="0"/>
              <a:t>Value (</a:t>
            </a:r>
            <a:r>
              <a:rPr lang="pl-PL" dirty="0" err="1"/>
              <a:t>readonly</a:t>
            </a:r>
            <a:r>
              <a:rPr lang="pl-PL" dirty="0"/>
              <a:t>) </a:t>
            </a:r>
            <a:r>
              <a:rPr lang="pl-PL" dirty="0" err="1"/>
              <a:t>Records</a:t>
            </a:r>
            <a:br>
              <a:rPr lang="pl-PL" dirty="0"/>
            </a:br>
            <a:r>
              <a:rPr lang="pl-PL" dirty="0"/>
              <a:t>+ </a:t>
            </a:r>
            <a:r>
              <a:rPr lang="pl-PL" dirty="0" err="1"/>
              <a:t>record-like</a:t>
            </a:r>
            <a:r>
              <a:rPr lang="pl-PL" dirty="0"/>
              <a:t> </a:t>
            </a:r>
            <a:r>
              <a:rPr lang="pl-PL" dirty="0" err="1"/>
              <a:t>semantics</a:t>
            </a:r>
            <a:r>
              <a:rPr lang="pl-PL" dirty="0"/>
              <a:t> </a:t>
            </a:r>
          </a:p>
          <a:p>
            <a:pPr lvl="1">
              <a:lnSpc>
                <a:spcPct val="150000"/>
              </a:lnSpc>
            </a:pPr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enhanc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endParaRPr lang="pl-PL" dirty="0"/>
          </a:p>
          <a:p>
            <a:pPr lvl="1">
              <a:lnSpc>
                <a:spcPct val="150000"/>
              </a:lnSpc>
            </a:pPr>
            <a:r>
              <a:rPr lang="pl-PL" dirty="0"/>
              <a:t>Lambda </a:t>
            </a:r>
            <a:r>
              <a:rPr lang="pl-PL" dirty="0" err="1"/>
              <a:t>improvements</a:t>
            </a:r>
            <a:r>
              <a:rPr lang="pl-PL" dirty="0"/>
              <a:t>  </a:t>
            </a:r>
          </a:p>
          <a:p>
            <a:endParaRPr lang="pl-PL" dirty="0"/>
          </a:p>
          <a:p>
            <a:endParaRPr lang="pl-PL" dirty="0"/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E78E1B2-3FD2-465D-BB13-95F70B08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# 10 – </a:t>
            </a:r>
            <a:r>
              <a:rPr lang="pl-PL" dirty="0" err="1"/>
              <a:t>head</a:t>
            </a:r>
            <a:r>
              <a:rPr lang="pl-PL" dirty="0"/>
              <a:t> </a:t>
            </a:r>
            <a:r>
              <a:rPr lang="pl-PL" dirty="0" err="1"/>
              <a:t>line</a:t>
            </a:r>
            <a:r>
              <a:rPr lang="pl-PL" dirty="0"/>
              <a:t> </a:t>
            </a:r>
            <a:r>
              <a:rPr lang="pl-PL" dirty="0" err="1"/>
              <a:t>features</a:t>
            </a:r>
            <a:r>
              <a:rPr lang="pl-PL" dirty="0"/>
              <a:t> </a:t>
            </a:r>
            <a:endParaRPr lang="en-US" dirty="0"/>
          </a:p>
        </p:txBody>
      </p:sp>
      <p:grpSp>
        <p:nvGrpSpPr>
          <p:cNvPr id="4" name="Groupe 375">
            <a:extLst>
              <a:ext uri="{FF2B5EF4-FFF2-40B4-BE49-F238E27FC236}">
                <a16:creationId xmlns:a16="http://schemas.microsoft.com/office/drawing/2014/main" id="{8089CDAB-D454-46ED-B4A0-F51C53E52FD0}"/>
              </a:ext>
            </a:extLst>
          </p:cNvPr>
          <p:cNvGrpSpPr>
            <a:grpSpLocks noChangeAspect="1"/>
          </p:cNvGrpSpPr>
          <p:nvPr/>
        </p:nvGrpSpPr>
        <p:grpSpPr>
          <a:xfrm>
            <a:off x="9552384" y="2996952"/>
            <a:ext cx="1800201" cy="1699552"/>
            <a:chOff x="10069513" y="552451"/>
            <a:chExt cx="993775" cy="938213"/>
          </a:xfrm>
        </p:grpSpPr>
        <p:sp>
          <p:nvSpPr>
            <p:cNvPr id="7" name="Freeform 114">
              <a:extLst>
                <a:ext uri="{FF2B5EF4-FFF2-40B4-BE49-F238E27FC236}">
                  <a16:creationId xmlns:a16="http://schemas.microsoft.com/office/drawing/2014/main" id="{6A3385F7-1AE8-46B8-A3BC-FC061057D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9513" y="552451"/>
              <a:ext cx="993775" cy="938213"/>
            </a:xfrm>
            <a:custGeom>
              <a:avLst/>
              <a:gdLst>
                <a:gd name="T0" fmla="*/ 42 w 294"/>
                <a:gd name="T1" fmla="*/ 215 h 275"/>
                <a:gd name="T2" fmla="*/ 71 w 294"/>
                <a:gd name="T3" fmla="*/ 41 h 275"/>
                <a:gd name="T4" fmla="*/ 252 w 294"/>
                <a:gd name="T5" fmla="*/ 67 h 275"/>
                <a:gd name="T6" fmla="*/ 219 w 294"/>
                <a:gd name="T7" fmla="*/ 234 h 275"/>
                <a:gd name="T8" fmla="*/ 42 w 294"/>
                <a:gd name="T9" fmla="*/ 21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275">
                  <a:moveTo>
                    <a:pt x="42" y="215"/>
                  </a:moveTo>
                  <a:cubicBezTo>
                    <a:pt x="0" y="160"/>
                    <a:pt x="13" y="82"/>
                    <a:pt x="71" y="41"/>
                  </a:cubicBezTo>
                  <a:cubicBezTo>
                    <a:pt x="128" y="0"/>
                    <a:pt x="210" y="12"/>
                    <a:pt x="252" y="67"/>
                  </a:cubicBezTo>
                  <a:cubicBezTo>
                    <a:pt x="294" y="122"/>
                    <a:pt x="276" y="194"/>
                    <a:pt x="219" y="234"/>
                  </a:cubicBezTo>
                  <a:cubicBezTo>
                    <a:pt x="161" y="275"/>
                    <a:pt x="84" y="270"/>
                    <a:pt x="42" y="215"/>
                  </a:cubicBezTo>
                </a:path>
              </a:pathLst>
            </a:custGeom>
            <a:solidFill>
              <a:srgbClr val="16A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" name="Groupe 377">
              <a:extLst>
                <a:ext uri="{FF2B5EF4-FFF2-40B4-BE49-F238E27FC236}">
                  <a16:creationId xmlns:a16="http://schemas.microsoft.com/office/drawing/2014/main" id="{F62B4781-AC25-4288-9320-8D35080779DF}"/>
                </a:ext>
              </a:extLst>
            </p:cNvPr>
            <p:cNvGrpSpPr/>
            <p:nvPr/>
          </p:nvGrpSpPr>
          <p:grpSpPr>
            <a:xfrm>
              <a:off x="10360025" y="701676"/>
              <a:ext cx="412750" cy="639762"/>
              <a:chOff x="10360025" y="701676"/>
              <a:chExt cx="412750" cy="639762"/>
            </a:xfrm>
          </p:grpSpPr>
          <p:sp>
            <p:nvSpPr>
              <p:cNvPr id="9" name="Freeform 115">
                <a:extLst>
                  <a:ext uri="{FF2B5EF4-FFF2-40B4-BE49-F238E27FC236}">
                    <a16:creationId xmlns:a16="http://schemas.microsoft.com/office/drawing/2014/main" id="{C791B621-A4CC-4701-9774-A1941245E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238" y="1312863"/>
                <a:ext cx="98425" cy="28575"/>
              </a:xfrm>
              <a:custGeom>
                <a:avLst/>
                <a:gdLst>
                  <a:gd name="T0" fmla="*/ 0 w 29"/>
                  <a:gd name="T1" fmla="*/ 0 h 8"/>
                  <a:gd name="T2" fmla="*/ 9 w 29"/>
                  <a:gd name="T3" fmla="*/ 8 h 8"/>
                  <a:gd name="T4" fmla="*/ 29 w 29"/>
                  <a:gd name="T5" fmla="*/ 0 h 8"/>
                  <a:gd name="T6" fmla="*/ 0 w 29"/>
                  <a:gd name="T7" fmla="*/ 0 h 8"/>
                  <a:gd name="T8" fmla="*/ 0 w 2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cubicBezTo>
                      <a:pt x="5" y="4"/>
                      <a:pt x="9" y="8"/>
                      <a:pt x="9" y="8"/>
                    </a:cubicBezTo>
                    <a:cubicBezTo>
                      <a:pt x="17" y="8"/>
                      <a:pt x="24" y="4"/>
                      <a:pt x="2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6">
                <a:extLst>
                  <a:ext uri="{FF2B5EF4-FFF2-40B4-BE49-F238E27FC236}">
                    <a16:creationId xmlns:a16="http://schemas.microsoft.com/office/drawing/2014/main" id="{84C131B1-2962-413C-B89E-08AED9835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184276"/>
                <a:ext cx="168275" cy="30163"/>
              </a:xfrm>
              <a:custGeom>
                <a:avLst/>
                <a:gdLst>
                  <a:gd name="T0" fmla="*/ 50 w 50"/>
                  <a:gd name="T1" fmla="*/ 5 h 9"/>
                  <a:gd name="T2" fmla="*/ 46 w 50"/>
                  <a:gd name="T3" fmla="*/ 9 h 9"/>
                  <a:gd name="T4" fmla="*/ 3 w 50"/>
                  <a:gd name="T5" fmla="*/ 9 h 9"/>
                  <a:gd name="T6" fmla="*/ 0 w 50"/>
                  <a:gd name="T7" fmla="*/ 5 h 9"/>
                  <a:gd name="T8" fmla="*/ 0 w 50"/>
                  <a:gd name="T9" fmla="*/ 3 h 9"/>
                  <a:gd name="T10" fmla="*/ 3 w 50"/>
                  <a:gd name="T11" fmla="*/ 0 h 9"/>
                  <a:gd name="T12" fmla="*/ 46 w 50"/>
                  <a:gd name="T13" fmla="*/ 0 h 9"/>
                  <a:gd name="T14" fmla="*/ 50 w 50"/>
                  <a:gd name="T15" fmla="*/ 3 h 9"/>
                  <a:gd name="T16" fmla="*/ 50 w 50"/>
                  <a:gd name="T17" fmla="*/ 5 h 9"/>
                  <a:gd name="T18" fmla="*/ 50 w 50"/>
                  <a:gd name="T1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9">
                    <a:moveTo>
                      <a:pt x="50" y="5"/>
                    </a:moveTo>
                    <a:cubicBezTo>
                      <a:pt x="50" y="7"/>
                      <a:pt x="49" y="9"/>
                      <a:pt x="46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17">
                <a:extLst>
                  <a:ext uri="{FF2B5EF4-FFF2-40B4-BE49-F238E27FC236}">
                    <a16:creationId xmlns:a16="http://schemas.microsoft.com/office/drawing/2014/main" id="{569CC437-CAD3-4F0A-B0E4-444E19A53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28726"/>
                <a:ext cx="168275" cy="26988"/>
              </a:xfrm>
              <a:custGeom>
                <a:avLst/>
                <a:gdLst>
                  <a:gd name="T0" fmla="*/ 50 w 50"/>
                  <a:gd name="T1" fmla="*/ 5 h 8"/>
                  <a:gd name="T2" fmla="*/ 46 w 50"/>
                  <a:gd name="T3" fmla="*/ 8 h 8"/>
                  <a:gd name="T4" fmla="*/ 3 w 50"/>
                  <a:gd name="T5" fmla="*/ 8 h 8"/>
                  <a:gd name="T6" fmla="*/ 0 w 50"/>
                  <a:gd name="T7" fmla="*/ 5 h 8"/>
                  <a:gd name="T8" fmla="*/ 0 w 50"/>
                  <a:gd name="T9" fmla="*/ 3 h 8"/>
                  <a:gd name="T10" fmla="*/ 3 w 50"/>
                  <a:gd name="T11" fmla="*/ 0 h 8"/>
                  <a:gd name="T12" fmla="*/ 46 w 50"/>
                  <a:gd name="T13" fmla="*/ 0 h 8"/>
                  <a:gd name="T14" fmla="*/ 50 w 50"/>
                  <a:gd name="T15" fmla="*/ 3 h 8"/>
                  <a:gd name="T16" fmla="*/ 50 w 50"/>
                  <a:gd name="T17" fmla="*/ 5 h 8"/>
                  <a:gd name="T18" fmla="*/ 50 w 50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8">
                    <a:moveTo>
                      <a:pt x="50" y="5"/>
                    </a:moveTo>
                    <a:cubicBezTo>
                      <a:pt x="50" y="7"/>
                      <a:pt x="49" y="8"/>
                      <a:pt x="46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1"/>
                      <a:pt x="50" y="3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8">
                <a:extLst>
                  <a:ext uri="{FF2B5EF4-FFF2-40B4-BE49-F238E27FC236}">
                    <a16:creationId xmlns:a16="http://schemas.microsoft.com/office/drawing/2014/main" id="{38C24D31-70A2-4D14-84F6-46517A289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2263" y="1265238"/>
                <a:ext cx="168275" cy="34925"/>
              </a:xfrm>
              <a:custGeom>
                <a:avLst/>
                <a:gdLst>
                  <a:gd name="T0" fmla="*/ 50 w 50"/>
                  <a:gd name="T1" fmla="*/ 7 h 10"/>
                  <a:gd name="T2" fmla="*/ 46 w 50"/>
                  <a:gd name="T3" fmla="*/ 10 h 10"/>
                  <a:gd name="T4" fmla="*/ 3 w 50"/>
                  <a:gd name="T5" fmla="*/ 10 h 10"/>
                  <a:gd name="T6" fmla="*/ 0 w 50"/>
                  <a:gd name="T7" fmla="*/ 7 h 10"/>
                  <a:gd name="T8" fmla="*/ 0 w 50"/>
                  <a:gd name="T9" fmla="*/ 5 h 10"/>
                  <a:gd name="T10" fmla="*/ 3 w 50"/>
                  <a:gd name="T11" fmla="*/ 0 h 10"/>
                  <a:gd name="T12" fmla="*/ 46 w 50"/>
                  <a:gd name="T13" fmla="*/ 0 h 10"/>
                  <a:gd name="T14" fmla="*/ 50 w 50"/>
                  <a:gd name="T15" fmla="*/ 5 h 10"/>
                  <a:gd name="T16" fmla="*/ 50 w 50"/>
                  <a:gd name="T17" fmla="*/ 7 h 10"/>
                  <a:gd name="T18" fmla="*/ 50 w 50"/>
                  <a:gd name="T1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0">
                    <a:moveTo>
                      <a:pt x="50" y="7"/>
                    </a:moveTo>
                    <a:cubicBezTo>
                      <a:pt x="50" y="9"/>
                      <a:pt x="49" y="10"/>
                      <a:pt x="46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" y="10"/>
                      <a:pt x="0" y="9"/>
                      <a:pt x="0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9" y="0"/>
                      <a:pt x="50" y="3"/>
                      <a:pt x="50" y="5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50" y="7"/>
                      <a:pt x="50" y="7"/>
                      <a:pt x="50" y="7"/>
                    </a:cubicBezTo>
                    <a:close/>
                  </a:path>
                </a:pathLst>
              </a:custGeom>
              <a:solidFill>
                <a:srgbClr val="0070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9">
                <a:extLst>
                  <a:ext uri="{FF2B5EF4-FFF2-40B4-BE49-F238E27FC236}">
                    <a16:creationId xmlns:a16="http://schemas.microsoft.com/office/drawing/2014/main" id="{FBCEF1DF-7891-4036-92E9-92248EF80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60025" y="701676"/>
                <a:ext cx="412750" cy="450850"/>
              </a:xfrm>
              <a:custGeom>
                <a:avLst/>
                <a:gdLst>
                  <a:gd name="T0" fmla="*/ 121 w 122"/>
                  <a:gd name="T1" fmla="*/ 60 h 132"/>
                  <a:gd name="T2" fmla="*/ 121 w 122"/>
                  <a:gd name="T3" fmla="*/ 60 h 132"/>
                  <a:gd name="T4" fmla="*/ 61 w 122"/>
                  <a:gd name="T5" fmla="*/ 0 h 132"/>
                  <a:gd name="T6" fmla="*/ 1 w 122"/>
                  <a:gd name="T7" fmla="*/ 60 h 132"/>
                  <a:gd name="T8" fmla="*/ 18 w 122"/>
                  <a:gd name="T9" fmla="*/ 104 h 132"/>
                  <a:gd name="T10" fmla="*/ 36 w 122"/>
                  <a:gd name="T11" fmla="*/ 132 h 132"/>
                  <a:gd name="T12" fmla="*/ 61 w 122"/>
                  <a:gd name="T13" fmla="*/ 132 h 132"/>
                  <a:gd name="T14" fmla="*/ 86 w 122"/>
                  <a:gd name="T15" fmla="*/ 132 h 132"/>
                  <a:gd name="T16" fmla="*/ 104 w 122"/>
                  <a:gd name="T17" fmla="*/ 104 h 132"/>
                  <a:gd name="T18" fmla="*/ 121 w 122"/>
                  <a:gd name="T19" fmla="*/ 6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2" h="132">
                    <a:moveTo>
                      <a:pt x="121" y="60"/>
                    </a:moveTo>
                    <a:cubicBezTo>
                      <a:pt x="121" y="60"/>
                      <a:pt x="121" y="60"/>
                      <a:pt x="121" y="60"/>
                    </a:cubicBezTo>
                    <a:cubicBezTo>
                      <a:pt x="121" y="27"/>
                      <a:pt x="94" y="0"/>
                      <a:pt x="61" y="0"/>
                    </a:cubicBezTo>
                    <a:cubicBezTo>
                      <a:pt x="28" y="0"/>
                      <a:pt x="1" y="27"/>
                      <a:pt x="1" y="60"/>
                    </a:cubicBezTo>
                    <a:cubicBezTo>
                      <a:pt x="1" y="60"/>
                      <a:pt x="0" y="85"/>
                      <a:pt x="18" y="104"/>
                    </a:cubicBezTo>
                    <a:cubicBezTo>
                      <a:pt x="37" y="122"/>
                      <a:pt x="36" y="132"/>
                      <a:pt x="36" y="132"/>
                    </a:cubicBezTo>
                    <a:cubicBezTo>
                      <a:pt x="61" y="132"/>
                      <a:pt x="61" y="132"/>
                      <a:pt x="61" y="132"/>
                    </a:cubicBezTo>
                    <a:cubicBezTo>
                      <a:pt x="86" y="132"/>
                      <a:pt x="86" y="132"/>
                      <a:pt x="86" y="132"/>
                    </a:cubicBezTo>
                    <a:cubicBezTo>
                      <a:pt x="86" y="132"/>
                      <a:pt x="86" y="122"/>
                      <a:pt x="104" y="104"/>
                    </a:cubicBezTo>
                    <a:cubicBezTo>
                      <a:pt x="122" y="85"/>
                      <a:pt x="121" y="60"/>
                      <a:pt x="121" y="60"/>
                    </a:cubicBezTo>
                    <a:close/>
                  </a:path>
                </a:pathLst>
              </a:custGeom>
              <a:solidFill>
                <a:srgbClr val="9AC0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Line 120">
                <a:extLst>
                  <a:ext uri="{FF2B5EF4-FFF2-40B4-BE49-F238E27FC236}">
                    <a16:creationId xmlns:a16="http://schemas.microsoft.com/office/drawing/2014/main" id="{BEE093EC-F559-457F-8FA7-0A7A9C9260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66400" y="1155701"/>
                <a:ext cx="0" cy="0"/>
              </a:xfrm>
              <a:prstGeom prst="line">
                <a:avLst/>
              </a:prstGeom>
              <a:noFill/>
              <a:ln w="3175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21">
                <a:extLst>
                  <a:ext uri="{FF2B5EF4-FFF2-40B4-BE49-F238E27FC236}">
                    <a16:creationId xmlns:a16="http://schemas.microsoft.com/office/drawing/2014/main" id="{6847888F-3A9B-4684-9249-39BDCD4D93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61625" y="923926"/>
                <a:ext cx="209550" cy="228600"/>
              </a:xfrm>
              <a:custGeom>
                <a:avLst/>
                <a:gdLst>
                  <a:gd name="T0" fmla="*/ 48 w 62"/>
                  <a:gd name="T1" fmla="*/ 0 h 67"/>
                  <a:gd name="T2" fmla="*/ 31 w 62"/>
                  <a:gd name="T3" fmla="*/ 10 h 67"/>
                  <a:gd name="T4" fmla="*/ 13 w 62"/>
                  <a:gd name="T5" fmla="*/ 0 h 67"/>
                  <a:gd name="T6" fmla="*/ 0 w 62"/>
                  <a:gd name="T7" fmla="*/ 14 h 67"/>
                  <a:gd name="T8" fmla="*/ 13 w 62"/>
                  <a:gd name="T9" fmla="*/ 28 h 67"/>
                  <a:gd name="T10" fmla="*/ 13 w 62"/>
                  <a:gd name="T11" fmla="*/ 28 h 67"/>
                  <a:gd name="T12" fmla="*/ 21 w 62"/>
                  <a:gd name="T13" fmla="*/ 26 h 67"/>
                  <a:gd name="T14" fmla="*/ 21 w 62"/>
                  <a:gd name="T15" fmla="*/ 67 h 67"/>
                  <a:gd name="T16" fmla="*/ 26 w 62"/>
                  <a:gd name="T17" fmla="*/ 67 h 67"/>
                  <a:gd name="T18" fmla="*/ 26 w 62"/>
                  <a:gd name="T19" fmla="*/ 23 h 67"/>
                  <a:gd name="T20" fmla="*/ 31 w 62"/>
                  <a:gd name="T21" fmla="*/ 18 h 67"/>
                  <a:gd name="T22" fmla="*/ 36 w 62"/>
                  <a:gd name="T23" fmla="*/ 23 h 67"/>
                  <a:gd name="T24" fmla="*/ 36 w 62"/>
                  <a:gd name="T25" fmla="*/ 67 h 67"/>
                  <a:gd name="T26" fmla="*/ 41 w 62"/>
                  <a:gd name="T27" fmla="*/ 67 h 67"/>
                  <a:gd name="T28" fmla="*/ 41 w 62"/>
                  <a:gd name="T29" fmla="*/ 26 h 67"/>
                  <a:gd name="T30" fmla="*/ 48 w 62"/>
                  <a:gd name="T31" fmla="*/ 28 h 67"/>
                  <a:gd name="T32" fmla="*/ 49 w 62"/>
                  <a:gd name="T33" fmla="*/ 28 h 67"/>
                  <a:gd name="T34" fmla="*/ 58 w 62"/>
                  <a:gd name="T35" fmla="*/ 24 h 67"/>
                  <a:gd name="T36" fmla="*/ 62 w 62"/>
                  <a:gd name="T37" fmla="*/ 14 h 67"/>
                  <a:gd name="T38" fmla="*/ 48 w 62"/>
                  <a:gd name="T39" fmla="*/ 0 h 67"/>
                  <a:gd name="T40" fmla="*/ 13 w 62"/>
                  <a:gd name="T41" fmla="*/ 23 h 67"/>
                  <a:gd name="T42" fmla="*/ 13 w 62"/>
                  <a:gd name="T43" fmla="*/ 23 h 67"/>
                  <a:gd name="T44" fmla="*/ 4 w 62"/>
                  <a:gd name="T45" fmla="*/ 14 h 67"/>
                  <a:gd name="T46" fmla="*/ 13 w 62"/>
                  <a:gd name="T47" fmla="*/ 6 h 67"/>
                  <a:gd name="T48" fmla="*/ 28 w 62"/>
                  <a:gd name="T49" fmla="*/ 14 h 67"/>
                  <a:gd name="T50" fmla="*/ 13 w 62"/>
                  <a:gd name="T51" fmla="*/ 23 h 67"/>
                  <a:gd name="T52" fmla="*/ 54 w 62"/>
                  <a:gd name="T53" fmla="*/ 20 h 67"/>
                  <a:gd name="T54" fmla="*/ 49 w 62"/>
                  <a:gd name="T55" fmla="*/ 23 h 67"/>
                  <a:gd name="T56" fmla="*/ 48 w 62"/>
                  <a:gd name="T57" fmla="*/ 23 h 67"/>
                  <a:gd name="T58" fmla="*/ 34 w 62"/>
                  <a:gd name="T59" fmla="*/ 14 h 67"/>
                  <a:gd name="T60" fmla="*/ 48 w 62"/>
                  <a:gd name="T61" fmla="*/ 6 h 67"/>
                  <a:gd name="T62" fmla="*/ 57 w 62"/>
                  <a:gd name="T63" fmla="*/ 14 h 67"/>
                  <a:gd name="T64" fmla="*/ 54 w 62"/>
                  <a:gd name="T65" fmla="*/ 2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67">
                    <a:moveTo>
                      <a:pt x="48" y="0"/>
                    </a:moveTo>
                    <a:cubicBezTo>
                      <a:pt x="48" y="0"/>
                      <a:pt x="39" y="0"/>
                      <a:pt x="31" y="10"/>
                    </a:cubicBezTo>
                    <a:cubicBezTo>
                      <a:pt x="22" y="0"/>
                      <a:pt x="14" y="0"/>
                      <a:pt x="13" y="0"/>
                    </a:cubicBezTo>
                    <a:cubicBezTo>
                      <a:pt x="6" y="0"/>
                      <a:pt x="0" y="7"/>
                      <a:pt x="0" y="14"/>
                    </a:cubicBezTo>
                    <a:cubicBezTo>
                      <a:pt x="0" y="22"/>
                      <a:pt x="6" y="28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8"/>
                      <a:pt x="19" y="28"/>
                      <a:pt x="21" y="26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67"/>
                      <a:pt x="26" y="67"/>
                      <a:pt x="26" y="67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8" y="22"/>
                      <a:pt x="30" y="20"/>
                      <a:pt x="31" y="18"/>
                    </a:cubicBezTo>
                    <a:cubicBezTo>
                      <a:pt x="32" y="20"/>
                      <a:pt x="34" y="22"/>
                      <a:pt x="36" y="23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3" y="28"/>
                      <a:pt x="45" y="28"/>
                      <a:pt x="48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2" y="28"/>
                      <a:pt x="56" y="27"/>
                      <a:pt x="58" y="24"/>
                    </a:cubicBezTo>
                    <a:cubicBezTo>
                      <a:pt x="61" y="22"/>
                      <a:pt x="62" y="18"/>
                      <a:pt x="62" y="14"/>
                    </a:cubicBezTo>
                    <a:cubicBezTo>
                      <a:pt x="62" y="7"/>
                      <a:pt x="56" y="0"/>
                      <a:pt x="48" y="0"/>
                    </a:cubicBezTo>
                    <a:close/>
                    <a:moveTo>
                      <a:pt x="13" y="23"/>
                    </a:moveTo>
                    <a:cubicBezTo>
                      <a:pt x="13" y="23"/>
                      <a:pt x="13" y="23"/>
                      <a:pt x="13" y="23"/>
                    </a:cubicBezTo>
                    <a:cubicBezTo>
                      <a:pt x="9" y="23"/>
                      <a:pt x="4" y="19"/>
                      <a:pt x="4" y="14"/>
                    </a:cubicBezTo>
                    <a:cubicBezTo>
                      <a:pt x="4" y="9"/>
                      <a:pt x="9" y="6"/>
                      <a:pt x="13" y="6"/>
                    </a:cubicBezTo>
                    <a:cubicBezTo>
                      <a:pt x="14" y="6"/>
                      <a:pt x="21" y="6"/>
                      <a:pt x="28" y="14"/>
                    </a:cubicBezTo>
                    <a:cubicBezTo>
                      <a:pt x="26" y="17"/>
                      <a:pt x="20" y="23"/>
                      <a:pt x="13" y="23"/>
                    </a:cubicBezTo>
                    <a:close/>
                    <a:moveTo>
                      <a:pt x="54" y="20"/>
                    </a:moveTo>
                    <a:cubicBezTo>
                      <a:pt x="53" y="22"/>
                      <a:pt x="51" y="23"/>
                      <a:pt x="49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2" y="23"/>
                      <a:pt x="36" y="17"/>
                      <a:pt x="34" y="14"/>
                    </a:cubicBezTo>
                    <a:cubicBezTo>
                      <a:pt x="41" y="6"/>
                      <a:pt x="48" y="6"/>
                      <a:pt x="48" y="6"/>
                    </a:cubicBezTo>
                    <a:cubicBezTo>
                      <a:pt x="53" y="6"/>
                      <a:pt x="57" y="9"/>
                      <a:pt x="57" y="14"/>
                    </a:cubicBezTo>
                    <a:cubicBezTo>
                      <a:pt x="57" y="17"/>
                      <a:pt x="56" y="19"/>
                      <a:pt x="54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97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1E412-6495-461A-8259-A164285FC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terpolated</a:t>
            </a:r>
            <a:r>
              <a:rPr lang="pl-PL" dirty="0"/>
              <a:t> string </a:t>
            </a:r>
            <a:r>
              <a:rPr lang="pl-PL" dirty="0" err="1"/>
              <a:t>handler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BF1980-D8B9-4453-854F-6524E923E8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9496" y="980728"/>
            <a:ext cx="9181020" cy="2045697"/>
          </a:xfrm>
        </p:spPr>
        <p:txBody>
          <a:bodyPr>
            <a:normAutofit lnSpcReduction="10000"/>
          </a:bodyPr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,4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4CEE75-BA9D-4D6D-AF7A-107F0CAF6473}"/>
              </a:ext>
            </a:extLst>
          </p:cNvPr>
          <p:cNvSpPr txBox="1"/>
          <p:nvPr/>
        </p:nvSpPr>
        <p:spPr>
          <a:xfrm>
            <a:off x="197443" y="2492896"/>
            <a:ext cx="464451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5</a:t>
            </a:r>
            <a:endParaRPr lang="pl-PL" sz="1800" dirty="0">
              <a:solidFill>
                <a:srgbClr val="0000FF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=&gt;</a:t>
            </a: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orm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0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1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2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</a:t>
            </a:r>
            <a:r>
              <a:rPr lang="pl-PL" sz="1800" dirty="0">
                <a:solidFill>
                  <a:srgbClr val="3CB371"/>
                </a:solidFill>
                <a:latin typeface="Cascadia Mono" panose="020B0609020000020004" pitchFamily="49" charset="0"/>
              </a:rPr>
              <a:t>{3,4}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{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endParaRPr lang="pl-P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187DB6-68B7-46AC-B01F-66B398BF0085}"/>
              </a:ext>
            </a:extLst>
          </p:cNvPr>
          <p:cNvSpPr txBox="1"/>
          <p:nvPr/>
        </p:nvSpPr>
        <p:spPr>
          <a:xfrm>
            <a:off x="5951984" y="1556792"/>
            <a:ext cx="636198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NET6: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h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faultInterpolatedStringHand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6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,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Age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Liter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: 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ppendFormatt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hi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Ag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4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ToStringAndCle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66189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allAtOnce"/>
      <p:bldP spid="6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10D0D-A3A1-4DCF-A341-889FFE8BE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nstant</a:t>
            </a:r>
            <a:r>
              <a:rPr lang="pl-PL" dirty="0"/>
              <a:t> </a:t>
            </a:r>
            <a:r>
              <a:rPr lang="pl-PL" dirty="0" err="1"/>
              <a:t>Interpolated</a:t>
            </a:r>
            <a:r>
              <a:rPr lang="pl-PL" dirty="0"/>
              <a:t> </a:t>
            </a:r>
            <a:r>
              <a:rPr lang="pl-PL" dirty="0" err="1"/>
              <a:t>String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564F6-6997-4BA3-87AF-42CBC0D733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1844824"/>
            <a:ext cx="10943916" cy="443672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world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const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S3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en-US" sz="1800" b="1" dirty="0">
                <a:solidFill>
                  <a:srgbClr val="800080"/>
                </a:solidFill>
                <a:latin typeface="Cascadia Mono" panose="020B0609020000020004" pitchFamily="49" charset="0"/>
              </a:rPr>
              <a:t>S1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 Kevin, welcome to the team!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gerDispl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: {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of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pl-PL" sz="1800" dirty="0">
                <a:latin typeface="Cascadia Mono" panose="020B0609020000020004" pitchFamily="49" charset="0"/>
              </a:rPr>
              <a:t>)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}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List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Cou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se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} = 15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5F4EDF-AAF1-449B-A3BC-387341D3C6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35318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8A772-35FA-4D6F-ABAE-1EFD7D6BB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File 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Namespace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339D9F-5A05-415A-A049-AEFA772565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432" y="2060848"/>
            <a:ext cx="10943916" cy="4220704"/>
          </a:xfrm>
        </p:spPr>
        <p:txBody>
          <a:bodyPr/>
          <a:lstStyle/>
          <a:p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amespac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System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Class</a:t>
            </a:r>
            <a:br>
              <a:rPr lang="pl-PL" sz="20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One per 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/>
              <a:t>Not </a:t>
            </a:r>
            <a:r>
              <a:rPr lang="pl-PL" sz="1800" dirty="0" err="1"/>
              <a:t>nested</a:t>
            </a:r>
            <a:r>
              <a:rPr lang="pl-PL" sz="18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4D68EA-7870-4BE0-8B34-2669BD08A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486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30190-F5AB-485D-80C8-3E17B1661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lobal Using </a:t>
            </a:r>
            <a:r>
              <a:rPr lang="pl-PL" dirty="0" err="1"/>
              <a:t>Stat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B687AC-693C-439A-8767-A241CF4B18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Project-</a:t>
            </a:r>
            <a:r>
              <a:rPr lang="pl-PL" dirty="0" err="1"/>
              <a:t>scoped</a:t>
            </a:r>
            <a:r>
              <a:rPr lang="pl-PL" dirty="0"/>
              <a:t> </a:t>
            </a:r>
            <a:r>
              <a:rPr lang="pl-PL" dirty="0" err="1"/>
              <a:t>default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be </a:t>
            </a:r>
            <a:r>
              <a:rPr lang="pl-PL" sz="1800" dirty="0" err="1"/>
              <a:t>static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ath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800" dirty="0" err="1"/>
              <a:t>Can</a:t>
            </a:r>
            <a:r>
              <a:rPr lang="pl-PL" sz="1800" dirty="0"/>
              <a:t> </a:t>
            </a:r>
            <a:r>
              <a:rPr lang="pl-PL" sz="1800" dirty="0" err="1"/>
              <a:t>use</a:t>
            </a:r>
            <a:r>
              <a:rPr lang="pl-PL" sz="1800" dirty="0"/>
              <a:t> </a:t>
            </a:r>
            <a:r>
              <a:rPr lang="pl-PL" sz="1800" dirty="0" err="1"/>
              <a:t>mnemonic</a:t>
            </a:r>
            <a:r>
              <a:rPr lang="pl-PL" sz="1800" dirty="0"/>
              <a:t>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SF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icrosof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deAnalysis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Sharp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ntaxFactor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1E52B0-8301-4A0D-8112-40BFC6BA01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3065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DAAFC-F9AA-46A6-859A-CDCDB31DE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mplicit</a:t>
            </a:r>
            <a:r>
              <a:rPr lang="pl-PL" dirty="0"/>
              <a:t> Using </a:t>
            </a:r>
            <a:r>
              <a:rPr lang="pl-PL" dirty="0" err="1"/>
              <a:t>Stat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489B1-A9BE-47C9-80D2-815091A0E6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926017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*.</a:t>
            </a:r>
            <a:r>
              <a:rPr lang="pl-PL" dirty="0" err="1"/>
              <a:t>csproj</a:t>
            </a:r>
            <a:r>
              <a:rPr lang="pl-PL" dirty="0"/>
              <a:t>:</a:t>
            </a:r>
            <a:br>
              <a:rPr lang="pl-PL" dirty="0"/>
            </a:br>
            <a:r>
              <a:rPr lang="pl-PL" dirty="0"/>
              <a:t>&lt;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  <a:r>
              <a:rPr lang="pl-PL" dirty="0" err="1"/>
              <a:t>enable</a:t>
            </a:r>
            <a:r>
              <a:rPr lang="pl-PL" dirty="0"/>
              <a:t>&lt;/</a:t>
            </a:r>
            <a:r>
              <a:rPr lang="pl-PL" dirty="0" err="1"/>
              <a:t>ImplicitUsings</a:t>
            </a:r>
            <a:r>
              <a:rPr lang="pl-PL" dirty="0"/>
              <a:t>&gt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&lt;PROJECT_NAME&gt;.</a:t>
            </a:r>
            <a:r>
              <a:rPr lang="pl-PL" dirty="0" err="1"/>
              <a:t>GlobalUsings.g.cs</a:t>
            </a:r>
            <a:br>
              <a:rPr lang="pl-PL" dirty="0"/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llections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Gener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O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inq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Ne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Htt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global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: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System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hreading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as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&lt;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FF0000"/>
                </a:solidFill>
                <a:latin typeface="Cascadia Mono" panose="020B0609020000020004" pitchFamily="49" charset="0"/>
              </a:rPr>
              <a:t>Remove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ystem.Thread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Using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Cascadia Mono" panose="020B0609020000020004" pitchFamily="49" charset="0"/>
              </a:rPr>
              <a:t>Include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Microsoft.Extensions.Logg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 /&gt;</a:t>
            </a:r>
            <a:b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lt;/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ItemGroup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&gt;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871813-618A-4D0C-9E59-6A38ADBA5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4688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E44D7-01AF-4910-BD28-32E90306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inimal</a:t>
            </a:r>
            <a:r>
              <a:rPr lang="pl-PL" dirty="0"/>
              <a:t> </a:t>
            </a:r>
            <a:r>
              <a:rPr lang="pl-PL" dirty="0" err="1"/>
              <a:t>API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2578B-A76D-4E32-A81F-0556C546B4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64881" y="2636912"/>
            <a:ext cx="8424936" cy="252028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builder = </a:t>
            </a:r>
            <a:r>
              <a:rPr lang="en-US" dirty="0" err="1">
                <a:solidFill>
                  <a:srgbClr val="00008B"/>
                </a:solidFill>
                <a:latin typeface="Cascadia Mono" panose="020B0609020000020004" pitchFamily="49" charset="0"/>
              </a:rPr>
              <a:t>WebApplication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CreateBuilder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builder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Buil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en-US" dirty="0" err="1">
                <a:solidFill>
                  <a:srgbClr val="008B8B"/>
                </a:solidFill>
                <a:latin typeface="Cascadia Mono" panose="020B0609020000020004" pitchFamily="49" charset="0"/>
              </a:rPr>
              <a:t>MapGe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/hello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, () =&gt; </a:t>
            </a:r>
            <a:r>
              <a:rPr lang="en-US" dirty="0">
                <a:solidFill>
                  <a:srgbClr val="A31515"/>
                </a:solidFill>
                <a:latin typeface="Cascadia Mono" panose="020B0609020000020004" pitchFamily="49" charset="0"/>
              </a:rPr>
              <a:t>"Hello, World!"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pp.</a:t>
            </a:r>
            <a:r>
              <a:rPr lang="pl-PL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un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;</a:t>
            </a:r>
            <a:endParaRPr lang="pl-PL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683B7C-21DB-4D3D-BA02-9A4EB583E4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Without</a:t>
            </a:r>
            <a:r>
              <a:rPr lang="pl-PL" dirty="0"/>
              <a:t> </a:t>
            </a:r>
            <a:r>
              <a:rPr lang="pl-PL" dirty="0" err="1"/>
              <a:t>Rust</a:t>
            </a:r>
            <a:r>
              <a:rPr lang="pl-PL" dirty="0"/>
              <a:t> </a:t>
            </a:r>
            <a:r>
              <a:rPr lang="pl-PL" dirty="0" err="1"/>
              <a:t>or</a:t>
            </a:r>
            <a:r>
              <a:rPr lang="pl-PL" dirty="0"/>
              <a:t> Go…</a:t>
            </a:r>
          </a:p>
        </p:txBody>
      </p:sp>
    </p:spTree>
    <p:extLst>
      <p:ext uri="{BB962C8B-B14F-4D97-AF65-F5344CB8AC3E}">
        <p14:creationId xmlns:p14="http://schemas.microsoft.com/office/powerpoint/2010/main" val="37431948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F02B4-14E3-4CBC-BB32-C19A1ECCF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struct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29F345-B13E-4E95-96AB-24D09C9C9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23592" y="2852936"/>
            <a:ext cx="6624736" cy="3312368"/>
          </a:xfrm>
        </p:spPr>
        <p:txBody>
          <a:bodyPr>
            <a:normAutofit/>
          </a:bodyPr>
          <a:lstStyle/>
          <a:p>
            <a:r>
              <a:rPr lang="en-US" sz="24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4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Rec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endParaRPr lang="pl-PL" sz="24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    </a:t>
            </a:r>
            <a:r>
              <a:rPr lang="en-US" sz="24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4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;</a:t>
            </a:r>
            <a:endParaRPr lang="pl-PL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B9996E-9D23-422C-AE50-8D8BE16350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CE871ECA-4F4C-49C3-98F7-8AD586886C83}"/>
              </a:ext>
            </a:extLst>
          </p:cNvPr>
          <p:cNvCxnSpPr/>
          <p:nvPr/>
        </p:nvCxnSpPr>
        <p:spPr>
          <a:xfrm>
            <a:off x="1127448" y="2420888"/>
            <a:ext cx="180020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8227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Record</a:t>
            </a:r>
            <a:r>
              <a:rPr lang="pl-PL" dirty="0"/>
              <a:t>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Rectangl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Height) 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ealed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FF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 =&gt;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$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 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x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r>
              <a:rPr lang="pl-PL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r>
              <a:rPr lang="pl-PL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dirty="0">
                <a:solidFill>
                  <a:srgbClr val="2B91AF"/>
                </a:solidFill>
                <a:latin typeface="Cascadia Mono" panose="020B0609020000020004" pitchFamily="49" charset="0"/>
              </a:rPr>
              <a:t>Square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latin typeface="Cascadia Mono" panose="020B0609020000020004" pitchFamily="49" charset="0"/>
              </a:rPr>
              <a:t> side): Rectangle(side, side)</a:t>
            </a:r>
            <a:b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//public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overrid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 string 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ToString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 =&gt; $"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GetTyp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().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 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Width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x{</a:t>
            </a:r>
            <a:r>
              <a:rPr lang="pl-PL" dirty="0" err="1">
                <a:solidFill>
                  <a:srgbClr val="008000"/>
                </a:solidFill>
                <a:latin typeface="Cascadia Mono" panose="020B0609020000020004" pitchFamily="49" charset="0"/>
              </a:rPr>
              <a:t>Height</a:t>
            </a:r>
            <a:r>
              <a:rPr lang="pl-PL" dirty="0">
                <a:solidFill>
                  <a:srgbClr val="008000"/>
                </a:solidFill>
                <a:latin typeface="Cascadia Mono" panose="020B0609020000020004" pitchFamily="49" charset="0"/>
              </a:rPr>
              <a:t>}";</a:t>
            </a:r>
            <a:endParaRPr lang="pl-PL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EEBB12-BC51-4A12-8479-E04A830158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69538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68412-BAF3-4085-BA7E-04F779F27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„</a:t>
            </a:r>
            <a:r>
              <a:rPr lang="pl-PL" dirty="0" err="1"/>
              <a:t>Record</a:t>
            </a:r>
            <a:r>
              <a:rPr lang="pl-PL" dirty="0"/>
              <a:t>”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3768B-F667-48AF-9BAF-25551AECD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980729"/>
            <a:ext cx="11700000" cy="5300824"/>
          </a:xfrm>
        </p:spPr>
        <p:txBody>
          <a:bodyPr>
            <a:normAutofit/>
          </a:bodyPr>
          <a:lstStyle/>
          <a:p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br>
              <a:rPr lang="pl-PL" sz="1600" dirty="0">
                <a:solidFill>
                  <a:srgbClr val="2B91AF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 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 {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ge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r>
              <a:rPr lang="en-US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i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Y = 0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1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RectangleStruc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y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width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height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X = x;            Y = y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idth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heigh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60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EAB7170-3FF4-4A0B-BFFF-0755C8619F15}"/>
              </a:ext>
            </a:extLst>
          </p:cNvPr>
          <p:cNvCxnSpPr>
            <a:cxnSpLocks/>
          </p:cNvCxnSpPr>
          <p:nvPr/>
        </p:nvCxnSpPr>
        <p:spPr>
          <a:xfrm flipH="1">
            <a:off x="3647728" y="2814770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0465AE9-FC78-4C6A-A329-DAF92F62AAA4}"/>
              </a:ext>
            </a:extLst>
          </p:cNvPr>
          <p:cNvGrpSpPr/>
          <p:nvPr/>
        </p:nvGrpSpPr>
        <p:grpSpPr>
          <a:xfrm>
            <a:off x="1292227" y="5517232"/>
            <a:ext cx="10656940" cy="1123318"/>
            <a:chOff x="1292227" y="5662989"/>
            <a:chExt cx="10656940" cy="112331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69D3317-DF13-4582-839E-2613BB88CC83}"/>
                </a:ext>
              </a:extLst>
            </p:cNvPr>
            <p:cNvGrpSpPr/>
            <p:nvPr/>
          </p:nvGrpSpPr>
          <p:grpSpPr>
            <a:xfrm>
              <a:off x="3359696" y="5662989"/>
              <a:ext cx="8589471" cy="718339"/>
              <a:chOff x="3359696" y="5662989"/>
              <a:chExt cx="8589471" cy="718339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AA32E501-6ABF-4C09-A23B-43A2A52F8287}"/>
                  </a:ext>
                </a:extLst>
              </p:cNvPr>
              <p:cNvSpPr/>
              <p:nvPr/>
            </p:nvSpPr>
            <p:spPr>
              <a:xfrm>
                <a:off x="5853167" y="5662989"/>
                <a:ext cx="6096000" cy="64633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3 = </a:t>
                </a:r>
                <a:r>
                  <a:rPr lang="pl-PL" dirty="0" err="1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new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</a:t>
                </a:r>
                <a:r>
                  <a:rPr lang="pl-PL" dirty="0" err="1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RectangleStruct</a:t>
                </a:r>
                <a:r>
                  <a:rPr lang="pl-PL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(1, 2, 3, 4);</a:t>
                </a:r>
              </a:p>
              <a:p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var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r4 = r3 </a:t>
                </a:r>
                <a:r>
                  <a:rPr lang="pt-BR" dirty="0">
                    <a:solidFill>
                      <a:srgbClr val="0000FF"/>
                    </a:solidFill>
                    <a:latin typeface="Cascadia Mono" panose="020B0609020000020004" pitchFamily="49" charset="0"/>
                  </a:rPr>
                  <a:t>with</a:t>
                </a:r>
                <a:r>
                  <a:rPr lang="pt-BR" dirty="0">
                    <a:solidFill>
                      <a:srgbClr val="000000"/>
                    </a:solidFill>
                    <a:latin typeface="Cascadia Mono" panose="020B0609020000020004" pitchFamily="49" charset="0"/>
                  </a:rPr>
                  <a:t> { X = 15 };</a:t>
                </a:r>
                <a:endParaRPr lang="pl-PL" dirty="0"/>
              </a:p>
            </p:txBody>
          </p:sp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6FBE8C88-077F-484C-A2BA-18954A468D94}"/>
                  </a:ext>
                </a:extLst>
              </p:cNvPr>
              <p:cNvCxnSpPr/>
              <p:nvPr/>
            </p:nvCxnSpPr>
            <p:spPr>
              <a:xfrm flipV="1">
                <a:off x="3359696" y="6021288"/>
                <a:ext cx="2376264" cy="36004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4C3D582-6FBF-4EBE-A3AB-26AF863AD0F1}"/>
                </a:ext>
              </a:extLst>
            </p:cNvPr>
            <p:cNvSpPr txBox="1"/>
            <p:nvPr/>
          </p:nvSpPr>
          <p:spPr>
            <a:xfrm>
              <a:off x="1292227" y="6416975"/>
              <a:ext cx="3267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/>
                <a:t>with</a:t>
              </a:r>
              <a:r>
                <a:rPr lang="en-US" dirty="0"/>
                <a:t> „almost” everywhere</a:t>
              </a:r>
            </a:p>
          </p:txBody>
        </p:sp>
      </p:grp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AB35D11-2727-49EC-855B-F568ECA6CB3A}"/>
              </a:ext>
            </a:extLst>
          </p:cNvPr>
          <p:cNvCxnSpPr>
            <a:cxnSpLocks/>
          </p:cNvCxnSpPr>
          <p:nvPr/>
        </p:nvCxnSpPr>
        <p:spPr>
          <a:xfrm flipH="1">
            <a:off x="8040216" y="1463095"/>
            <a:ext cx="2934976" cy="33116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72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E036B-93D6-4AE6-8154-923224597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6C88F8-DAC5-459B-91A7-70417CB966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Type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Iterator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Async/await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INQ expression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Lambdas</a:t>
            </a:r>
            <a:endParaRPr lang="pl-PL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Dynamic objects</a:t>
            </a:r>
          </a:p>
          <a:p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Renaming element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Deleting namespaces, types and member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Adding or modifying generic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interfaces</a:t>
            </a:r>
            <a:endParaRPr lang="pl-PL" dirty="0"/>
          </a:p>
          <a:p>
            <a:pPr marL="342900" indent="-342900"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odifying method signatures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F04687-892F-4964-89E6-89982D942A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Hot Reload</a:t>
            </a:r>
          </a:p>
        </p:txBody>
      </p:sp>
      <p:pic>
        <p:nvPicPr>
          <p:cNvPr id="15362" name="Picture 2" descr="Hot Reload button in Visual Studio 2022">
            <a:extLst>
              <a:ext uri="{FF2B5EF4-FFF2-40B4-BE49-F238E27FC236}">
                <a16:creationId xmlns:a16="http://schemas.microsoft.com/office/drawing/2014/main" id="{6764E46A-B3F3-4403-996D-D9CC9DDBC0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1400635"/>
            <a:ext cx="22669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284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371E4-8E3A-4BD8-A87E-2753D85B8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xtended </a:t>
            </a:r>
            <a:r>
              <a:rPr lang="pl-PL" dirty="0" err="1"/>
              <a:t>property</a:t>
            </a:r>
            <a:r>
              <a:rPr lang="pl-PL" dirty="0"/>
              <a:t> </a:t>
            </a:r>
            <a:r>
              <a:rPr lang="pl-PL" dirty="0" err="1"/>
              <a:t>pattern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F0F709-2904-46A8-9292-6607CD3F2B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1424" y="1696371"/>
            <a:ext cx="9433048" cy="324479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l-PL" dirty="0"/>
              <a:t>C# 9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{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 })</a:t>
            </a: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>
              <a:lnSpc>
                <a:spcPct val="150000"/>
              </a:lnSpc>
            </a:pPr>
            <a:endParaRPr lang="pl-PL" dirty="0"/>
          </a:p>
          <a:p>
            <a:pPr>
              <a:lnSpc>
                <a:spcPct val="150000"/>
              </a:lnSpc>
            </a:pPr>
            <a:r>
              <a:rPr lang="pl-PL" dirty="0"/>
              <a:t>C# 10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e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ethodCallExpress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eth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: 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MethodName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})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8B0FF7-F79E-4267-977B-AC85CA7008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8789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429F8-2749-401C-A4C6-03F9B5074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ambda </a:t>
            </a:r>
            <a:r>
              <a:rPr lang="pl-PL" dirty="0" err="1"/>
              <a:t>enhanc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60CD2A-10E6-44FF-9F2E-34FC0242B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1844824"/>
            <a:ext cx="11375964" cy="4436728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1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faul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2 =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) =&gt;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re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x;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3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) =&gt; { };            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4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asy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i) =&gt; i; 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i) =&gt; i);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Metho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f)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p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un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eleg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MyPars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713FF2-4A3D-44F8-A4C8-6C6E90FA62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04958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8F9B8-9CE9-48E7-A870-4E218D995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A8E702-AF3E-48E5-831F-377E761440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08097"/>
            <a:ext cx="11700000" cy="5389255"/>
          </a:xfrm>
        </p:spPr>
        <p:txBody>
          <a:bodyPr>
            <a:normAutofit/>
          </a:bodyPr>
          <a:lstStyle/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Inlining</a:t>
            </a:r>
            <a:r>
              <a:rPr lang="pl-PL" dirty="0"/>
              <a:t> and </a:t>
            </a:r>
            <a:r>
              <a:rPr lang="pl-PL" dirty="0" err="1"/>
              <a:t>devirtualization</a:t>
            </a:r>
            <a:endParaRPr lang="pl-PL" dirty="0"/>
          </a:p>
          <a:p>
            <a:pPr marL="609600" lvl="1" indent="-342900"/>
            <a:r>
              <a:rPr lang="pl-PL" dirty="0" err="1"/>
              <a:t>Sealed</a:t>
            </a:r>
            <a:r>
              <a:rPr lang="pl-PL" dirty="0"/>
              <a:t> </a:t>
            </a:r>
            <a:r>
              <a:rPr lang="pl-PL" dirty="0" err="1"/>
              <a:t>types</a:t>
            </a:r>
            <a:endParaRPr lang="pl-PL" dirty="0"/>
          </a:p>
          <a:p>
            <a:pPr marL="609600" lvl="1" indent="-342900"/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Eliminate</a:t>
            </a:r>
            <a:r>
              <a:rPr lang="pl-PL" dirty="0"/>
              <a:t> </a:t>
            </a:r>
            <a:r>
              <a:rPr lang="pl-PL" dirty="0" err="1"/>
              <a:t>bounds</a:t>
            </a:r>
            <a:r>
              <a:rPr lang="pl-PL" dirty="0"/>
              <a:t> </a:t>
            </a:r>
            <a:r>
              <a:rPr lang="pl-PL" dirty="0" err="1"/>
              <a:t>checking</a:t>
            </a:r>
            <a:br>
              <a:rPr lang="pl-PL" dirty="0"/>
            </a:br>
            <a:r>
              <a:rPr lang="pl-P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	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.Length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&gt;= 4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rra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3] = 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‚A’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Folding</a:t>
            </a:r>
            <a:r>
              <a:rPr lang="pl-PL" dirty="0"/>
              <a:t> for </a:t>
            </a:r>
            <a:r>
              <a:rPr lang="pl-PL" dirty="0" err="1"/>
              <a:t>System.Math</a:t>
            </a:r>
            <a:br>
              <a:rPr lang="pl-PL" dirty="0"/>
            </a:b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GetHeight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doubl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x =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ef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+  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2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*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 / (2 * 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ng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hortbase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Sqrt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rightLeg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2.0) -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ath.Pow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x, 2.0));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s</a:t>
            </a:r>
            <a:r>
              <a:rPr lang="pl-PL" dirty="0"/>
              <a:t> (</a:t>
            </a:r>
            <a:r>
              <a:rPr lang="pl-PL" dirty="0" err="1"/>
              <a:t>PopCount</a:t>
            </a:r>
            <a:r>
              <a:rPr lang="pl-PL" dirty="0"/>
              <a:t>, </a:t>
            </a:r>
            <a:r>
              <a:rPr lang="pl-PL" dirty="0" err="1"/>
              <a:t>fdiv</a:t>
            </a:r>
            <a:r>
              <a:rPr lang="pl-PL" dirty="0"/>
              <a:t>, </a:t>
            </a:r>
            <a:r>
              <a:rPr lang="pl-PL" dirty="0" err="1"/>
              <a:t>RotateRight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Lowering</a:t>
            </a:r>
            <a:r>
              <a:rPr lang="pl-PL" dirty="0"/>
              <a:t> (x % 2 == 0, </a:t>
            </a:r>
            <a:r>
              <a:rPr lang="pl-PL" dirty="0" err="1"/>
              <a:t>HasFlag</a:t>
            </a:r>
            <a:r>
              <a:rPr lang="pl-PL" dirty="0"/>
              <a:t>, …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33EC1F-1FEC-4B39-99D9-A66CFA86A5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704041"/>
            <a:ext cx="11700000" cy="504056"/>
          </a:xfrm>
        </p:spPr>
        <p:txBody>
          <a:bodyPr/>
          <a:lstStyle/>
          <a:p>
            <a:r>
              <a:rPr lang="pl-PL" dirty="0"/>
              <a:t>Runtime</a:t>
            </a:r>
          </a:p>
        </p:txBody>
      </p:sp>
    </p:spTree>
    <p:extLst>
      <p:ext uri="{BB962C8B-B14F-4D97-AF65-F5344CB8AC3E}">
        <p14:creationId xmlns:p14="http://schemas.microsoft.com/office/powerpoint/2010/main" val="1828139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88041-6879-4FFF-AC22-5590F9A4D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erformance </a:t>
            </a:r>
            <a:r>
              <a:rPr lang="pl-PL" dirty="0" err="1"/>
              <a:t>improvements</a:t>
            </a:r>
            <a:r>
              <a:rPr lang="pl-PL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624F0-DB82-4541-AD9F-4AAC46BC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78200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48A85-2F64-42B6-8923-D525FBB899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6000" y="693578"/>
            <a:ext cx="11700000" cy="504056"/>
          </a:xfrm>
        </p:spPr>
        <p:txBody>
          <a:bodyPr/>
          <a:lstStyle/>
          <a:p>
            <a:r>
              <a:rPr lang="en-US" dirty="0"/>
              <a:t>Framework</a:t>
            </a:r>
            <a:endParaRPr lang="pl-PL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13588AF-7032-46D8-B9A5-6AF7DAFE5B3B}"/>
              </a:ext>
            </a:extLst>
          </p:cNvPr>
          <p:cNvSpPr txBox="1">
            <a:spLocks/>
          </p:cNvSpPr>
          <p:nvPr/>
        </p:nvSpPr>
        <p:spPr>
          <a:xfrm>
            <a:off x="379748" y="1967751"/>
            <a:ext cx="11700000" cy="478200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Parsing</a:t>
            </a:r>
            <a:r>
              <a:rPr lang="pl-PL" dirty="0"/>
              <a:t> for </a:t>
            </a:r>
            <a:r>
              <a:rPr lang="pl-PL" dirty="0" err="1"/>
              <a:t>build</a:t>
            </a:r>
            <a:r>
              <a:rPr lang="pl-PL" dirty="0"/>
              <a:t>-in </a:t>
            </a:r>
            <a:r>
              <a:rPr lang="pl-PL" dirty="0" err="1"/>
              <a:t>types</a:t>
            </a:r>
            <a:r>
              <a:rPr lang="pl-PL" dirty="0"/>
              <a:t> from ROS&lt;&gt;</a:t>
            </a:r>
          </a:p>
          <a:p>
            <a:pPr marL="609600" lvl="1" indent="-342900"/>
            <a:r>
              <a:rPr lang="pl-PL" dirty="0" err="1"/>
              <a:t>Guid</a:t>
            </a:r>
            <a:r>
              <a:rPr lang="pl-PL" dirty="0"/>
              <a:t>, Version, </a:t>
            </a:r>
            <a:r>
              <a:rPr lang="pl-PL" dirty="0" err="1"/>
              <a:t>Enum</a:t>
            </a:r>
            <a:r>
              <a:rPr lang="pl-PL" dirty="0"/>
              <a:t> (?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Remove</a:t>
            </a:r>
            <a:r>
              <a:rPr lang="pl-PL" dirty="0"/>
              <a:t> </a:t>
            </a:r>
            <a:r>
              <a:rPr lang="pl-PL" dirty="0" err="1"/>
              <a:t>allocs</a:t>
            </a:r>
            <a:endParaRPr lang="pl-PL" dirty="0"/>
          </a:p>
          <a:p>
            <a:pPr marL="609600" lvl="1" indent="-342900"/>
            <a:r>
              <a:rPr lang="pl-PL" dirty="0" err="1"/>
              <a:t>Random</a:t>
            </a:r>
            <a:r>
              <a:rPr lang="pl-PL" dirty="0"/>
              <a:t>, </a:t>
            </a:r>
          </a:p>
          <a:p>
            <a:pPr marL="609600" lvl="1" indent="-342900"/>
            <a:r>
              <a:rPr lang="pl-PL" dirty="0"/>
              <a:t>Environment (</a:t>
            </a:r>
            <a:r>
              <a:rPr lang="pl-PL" dirty="0" err="1"/>
              <a:t>GetEnvironmentVariables</a:t>
            </a:r>
            <a:r>
              <a:rPr lang="pl-PL" dirty="0"/>
              <a:t>, </a:t>
            </a:r>
            <a:r>
              <a:rPr lang="pl-PL" dirty="0" err="1"/>
              <a:t>ProcessId</a:t>
            </a:r>
            <a:r>
              <a:rPr lang="pl-PL" dirty="0"/>
              <a:t>, </a:t>
            </a:r>
            <a:r>
              <a:rPr lang="pl-PL" dirty="0" err="1"/>
              <a:t>ProcessPath</a:t>
            </a:r>
            <a:r>
              <a:rPr lang="pl-PL" dirty="0"/>
              <a:t>), </a:t>
            </a:r>
          </a:p>
          <a:p>
            <a:pPr marL="609600" lvl="1" indent="-342900"/>
            <a:r>
              <a:rPr lang="pl-PL" dirty="0" err="1"/>
              <a:t>DateTime</a:t>
            </a:r>
            <a:r>
              <a:rPr lang="pl-PL" dirty="0"/>
              <a:t> (</a:t>
            </a:r>
            <a:r>
              <a:rPr lang="pl-PL" dirty="0" err="1"/>
              <a:t>UtcNow</a:t>
            </a:r>
            <a:r>
              <a:rPr lang="pl-PL" dirty="0"/>
              <a:t>, </a:t>
            </a:r>
            <a:r>
              <a:rPr lang="pl-PL" dirty="0" err="1"/>
              <a:t>Now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Enum</a:t>
            </a:r>
            <a:r>
              <a:rPr lang="pl-PL" dirty="0"/>
              <a:t> (</a:t>
            </a:r>
            <a:r>
              <a:rPr lang="en-US" dirty="0" err="1"/>
              <a:t>IsDefined</a:t>
            </a:r>
            <a:r>
              <a:rPr lang="en-US" dirty="0"/>
              <a:t>, </a:t>
            </a:r>
            <a:r>
              <a:rPr lang="en-US" dirty="0" err="1"/>
              <a:t>GetName</a:t>
            </a:r>
            <a:r>
              <a:rPr lang="en-US" dirty="0"/>
              <a:t>,</a:t>
            </a:r>
            <a:r>
              <a:rPr lang="pl-PL" dirty="0"/>
              <a:t> </a:t>
            </a:r>
            <a:r>
              <a:rPr lang="en-US" dirty="0" err="1"/>
              <a:t>GetNames</a:t>
            </a:r>
            <a:r>
              <a:rPr lang="pl-PL" dirty="0"/>
              <a:t>)</a:t>
            </a:r>
          </a:p>
          <a:p>
            <a:pPr marL="609600" lvl="1" indent="-342900"/>
            <a:r>
              <a:rPr lang="pl-PL" dirty="0" err="1"/>
              <a:t>Array</a:t>
            </a:r>
            <a:r>
              <a:rPr lang="pl-PL" dirty="0"/>
              <a:t> (</a:t>
            </a:r>
            <a:r>
              <a:rPr lang="pl-PL" dirty="0" err="1"/>
              <a:t>Clear</a:t>
            </a:r>
            <a:r>
              <a:rPr lang="pl-PL" dirty="0"/>
              <a:t>, </a:t>
            </a:r>
            <a:r>
              <a:rPr lang="pl-PL" dirty="0" err="1"/>
              <a:t>Fill</a:t>
            </a:r>
            <a:r>
              <a:rPr lang="pl-PL" dirty="0"/>
              <a:t>)</a:t>
            </a:r>
          </a:p>
          <a:p>
            <a:pPr marL="69850" indent="-342900">
              <a:buFont typeface="Arial" panose="020B0604020202020204" pitchFamily="34" charset="0"/>
              <a:buChar char="•"/>
            </a:pPr>
            <a:r>
              <a:rPr lang="pl-PL" dirty="0" err="1"/>
              <a:t>Vectorization</a:t>
            </a:r>
            <a:r>
              <a:rPr lang="pl-PL" dirty="0"/>
              <a:t>	</a:t>
            </a:r>
          </a:p>
          <a:p>
            <a:pPr marL="609600" lvl="1" indent="-342900"/>
            <a:r>
              <a:rPr lang="pl-PL" dirty="0"/>
              <a:t>String (</a:t>
            </a:r>
            <a:r>
              <a:rPr lang="pl-PL" dirty="0" err="1"/>
              <a:t>Replace</a:t>
            </a:r>
            <a:r>
              <a:rPr lang="pl-PL" dirty="0"/>
              <a:t>, </a:t>
            </a:r>
            <a:r>
              <a:rPr lang="pl-PL" dirty="0" err="1"/>
              <a:t>IndexOf</a:t>
            </a:r>
            <a:r>
              <a:rPr lang="pl-PL" dirty="0"/>
              <a:t>)</a:t>
            </a:r>
          </a:p>
          <a:p>
            <a:pPr marL="69850" indent="-342900"/>
            <a:endParaRPr lang="pl-PL" dirty="0"/>
          </a:p>
          <a:p>
            <a:pPr marL="69850" indent="-342900"/>
            <a:endParaRPr lang="pl-PL" dirty="0"/>
          </a:p>
          <a:p>
            <a:pPr marL="69850" indent="-342900"/>
            <a:r>
              <a:rPr lang="pl-PL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24630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9456A94-DDB8-4284-B7CC-5A8453DCE8B3}"/>
              </a:ext>
            </a:extLst>
          </p:cNvPr>
          <p:cNvSpPr txBox="1">
            <a:spLocks/>
          </p:cNvSpPr>
          <p:nvPr/>
        </p:nvSpPr>
        <p:spPr>
          <a:xfrm>
            <a:off x="372014" y="1345652"/>
            <a:ext cx="11447972" cy="36675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System.Text.Json</a:t>
            </a:r>
            <a:r>
              <a:rPr lang="pl-PL" dirty="0"/>
              <a:t> – </a:t>
            </a:r>
            <a:r>
              <a:rPr lang="pl-PL" dirty="0" err="1"/>
              <a:t>allocation</a:t>
            </a:r>
            <a:r>
              <a:rPr lang="pl-PL" dirty="0"/>
              <a:t> </a:t>
            </a:r>
            <a:r>
              <a:rPr lang="pl-PL" dirty="0" err="1"/>
              <a:t>issues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Faster</a:t>
            </a:r>
            <a:r>
              <a:rPr lang="pl-PL" dirty="0"/>
              <a:t> </a:t>
            </a:r>
            <a:r>
              <a:rPr lang="pl-PL" dirty="0" err="1"/>
              <a:t>approach</a:t>
            </a:r>
            <a:r>
              <a:rPr lang="pl-PL" dirty="0"/>
              <a:t> </a:t>
            </a:r>
            <a:r>
              <a:rPr lang="pl-PL" dirty="0" err="1"/>
              <a:t>needed</a:t>
            </a:r>
            <a:r>
              <a:rPr lang="pl-PL" dirty="0"/>
              <a:t> - </a:t>
            </a:r>
            <a:r>
              <a:rPr lang="pl-PL" dirty="0" err="1"/>
              <a:t>define</a:t>
            </a:r>
            <a:r>
              <a:rPr lang="pl-PL" dirty="0"/>
              <a:t> </a:t>
            </a:r>
            <a:r>
              <a:rPr lang="pl-PL" dirty="0" err="1"/>
              <a:t>pipelines</a:t>
            </a:r>
            <a:r>
              <a:rPr lang="pl-PL" dirty="0"/>
              <a:t> and </a:t>
            </a:r>
            <a:r>
              <a:rPr lang="pl-PL" dirty="0" err="1"/>
              <a:t>filters</a:t>
            </a:r>
            <a:r>
              <a:rPr lang="pl-PL" dirty="0"/>
              <a:t>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dirty="0" err="1"/>
              <a:t>IIncrementalGenerator</a:t>
            </a:r>
            <a:endParaRPr lang="pl-PL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D50D6FF-8235-429F-B859-224925FAAAEC}"/>
              </a:ext>
            </a:extLst>
          </p:cNvPr>
          <p:cNvSpPr txBox="1">
            <a:spLocks/>
          </p:cNvSpPr>
          <p:nvPr/>
        </p:nvSpPr>
        <p:spPr>
          <a:xfrm>
            <a:off x="264651" y="721220"/>
            <a:ext cx="11700000" cy="5040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/>
              <a:t>Incremental</a:t>
            </a:r>
            <a:r>
              <a:rPr lang="pl-PL" dirty="0"/>
              <a:t> </a:t>
            </a:r>
            <a:r>
              <a:rPr lang="pl-PL" dirty="0" err="1"/>
              <a:t>generators</a:t>
            </a:r>
            <a:endParaRPr lang="pl-PL" dirty="0"/>
          </a:p>
          <a:p>
            <a:endParaRPr lang="pl-PL" dirty="0"/>
          </a:p>
        </p:txBody>
      </p:sp>
      <p:pic>
        <p:nvPicPr>
          <p:cNvPr id="18434" name="Picture 2" descr="Incremental generator outline">
            <a:extLst>
              <a:ext uri="{FF2B5EF4-FFF2-40B4-BE49-F238E27FC236}">
                <a16:creationId xmlns:a16="http://schemas.microsoft.com/office/drawing/2014/main" id="{EB553F36-E93F-4A27-928B-F5870AA4C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664" y="3351385"/>
            <a:ext cx="6624736" cy="33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962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104899"/>
            <a:ext cx="9397044" cy="5176653"/>
          </a:xfrm>
        </p:spPr>
        <p:txBody>
          <a:bodyPr/>
          <a:lstStyle/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it-IT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it-IT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r>
              <a:rPr lang="it-IT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 logger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	 =&gt; </a:t>
            </a:r>
            <a:r>
              <a:rPr lang="pl-PL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[</a:t>
            </a:r>
            <a:r>
              <a:rPr lang="pl-PL" sz="18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Http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/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Ge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f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(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IsEnable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en-US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Information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</a:t>
            </a:r>
            <a:r>
              <a:rPr lang="pl-PL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retur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Hello </a:t>
            </a:r>
            <a:r>
              <a:rPr lang="pl-PL" sz="1800" b="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world</a:t>
            </a:r>
            <a:r>
              <a:rPr lang="pl-PL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!"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  <a:b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318462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268759"/>
            <a:ext cx="10261140" cy="5012793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</a:p>
          <a:p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rivat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ad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Ac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ILogg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Exception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&gt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</a:t>
            </a:r>
            <a:r>
              <a:rPr lang="en-US" sz="180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endParaRPr lang="en-US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Def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lt;</a:t>
            </a:r>
            <a:r>
              <a:rPr lang="pl-PL" sz="18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&gt;(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b="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ventI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800" b="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ameof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),</a:t>
            </a:r>
          </a:p>
          <a:p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   </a:t>
            </a:r>
            <a:r>
              <a:rPr lang="en-US" sz="18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endParaRPr lang="pl-PL" sz="1800" b="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{</a:t>
            </a: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  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HelloWorldCallback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b="0" dirty="0">
                <a:solidFill>
                  <a:srgbClr val="800080"/>
                </a:solidFill>
                <a:latin typeface="Cascadia Mono" panose="020B0609020000020004" pitchFamily="49" charset="0"/>
              </a:rPr>
              <a:t>_</a:t>
            </a:r>
            <a:r>
              <a:rPr lang="pl-PL" sz="1800" b="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logger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person, </a:t>
            </a:r>
            <a:r>
              <a:rPr lang="pl-PL" sz="1800" b="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}</a:t>
            </a:r>
          </a:p>
          <a:p>
            <a:r>
              <a:rPr lang="pl-PL" sz="18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5436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340767"/>
            <a:ext cx="11629292" cy="494078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estController</a:t>
            </a:r>
            <a:b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0, 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en-US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600" b="1" dirty="0" err="1">
                <a:solidFill>
                  <a:srgbClr val="800080"/>
                </a:solidFill>
                <a:latin typeface="Cascadia Mono" panose="020B0609020000020004" pitchFamily="49" charset="0"/>
              </a:rPr>
              <a:t>Informati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600" b="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   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600" b="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b="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  <a:b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b="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OR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tic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: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en-US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ger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scadia Mono" panose="020B0609020000020004" pitchFamily="49" charset="0"/>
              </a:rPr>
              <a:t>Message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600" dirty="0">
                <a:solidFill>
                  <a:srgbClr val="A31515"/>
                </a:solidFill>
                <a:latin typeface="Cascadia Mono" panose="020B0609020000020004" pitchFamily="49" charset="0"/>
              </a:rPr>
              <a:t>"Writing hello world response to {Person}"</a:t>
            </a:r>
            <a:r>
              <a:rPr lang="en-US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)]</a:t>
            </a:r>
            <a:b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LogHelloWorld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logLevel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6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pl-PL" sz="1600" dirty="0">
                <a:solidFill>
                  <a:srgbClr val="000000"/>
                </a:solidFill>
                <a:latin typeface="Cascadia Mono" panose="020B0609020000020004" pitchFamily="49" charset="0"/>
              </a:rPr>
              <a:t> person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6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/>
              <a:t>d</a:t>
            </a:r>
            <a:r>
              <a:rPr lang="en-US" sz="1800" dirty="0" err="1"/>
              <a:t>ynamic</a:t>
            </a:r>
            <a:r>
              <a:rPr lang="en-US" sz="1800" dirty="0"/>
              <a:t> log levels are not compatible with </a:t>
            </a:r>
            <a:r>
              <a:rPr lang="en-US" sz="1800" dirty="0" err="1"/>
              <a:t>LoggerMessage.Define</a:t>
            </a:r>
            <a:r>
              <a:rPr lang="en-US" sz="1800" dirty="0"/>
              <a:t>()</a:t>
            </a:r>
            <a:r>
              <a:rPr lang="pl-PL" sz="1800" dirty="0"/>
              <a:t> </a:t>
            </a:r>
            <a:r>
              <a:rPr lang="pl-PL" sz="1800" dirty="0">
                <a:sym typeface="Wingdings" panose="05000000000000000000" pitchFamily="2" charset="2"/>
              </a:rPr>
              <a:t></a:t>
            </a:r>
            <a:endParaRPr lang="pl-PL" sz="1800" dirty="0"/>
          </a:p>
        </p:txBody>
      </p:sp>
    </p:spTree>
    <p:extLst>
      <p:ext uri="{BB962C8B-B14F-4D97-AF65-F5344CB8AC3E}">
        <p14:creationId xmlns:p14="http://schemas.microsoft.com/office/powerpoint/2010/main" val="877499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5308-EDF9-430B-9174-F5326159D1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144016"/>
            <a:ext cx="11125236" cy="620688"/>
          </a:xfrm>
        </p:spPr>
        <p:txBody>
          <a:bodyPr/>
          <a:lstStyle/>
          <a:p>
            <a:r>
              <a:rPr lang="pl-PL" dirty="0" err="1"/>
              <a:t>Code</a:t>
            </a:r>
            <a:r>
              <a:rPr lang="pl-PL" dirty="0"/>
              <a:t> generator </a:t>
            </a:r>
            <a:r>
              <a:rPr lang="pl-PL" dirty="0" err="1"/>
              <a:t>use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FEF43-9A9E-4C29-A019-DCF89054C0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416" y="1700808"/>
            <a:ext cx="10860584" cy="4824536"/>
          </a:xfrm>
        </p:spPr>
        <p:txBody>
          <a:bodyPr/>
          <a:lstStyle/>
          <a:p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latin typeface="Cascadia Mono" panose="020B0609020000020004" pitchFamily="49" charset="0"/>
              </a:rPr>
              <a:t>(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? Nam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Kin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Food</a:t>
            </a:r>
            <a:r>
              <a:rPr lang="pl-PL" sz="1800" dirty="0">
                <a:latin typeface="Cascadia Mono" panose="020B0609020000020004" pitchFamily="49" charset="0"/>
              </a:rPr>
              <a:t>);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abl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typeof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]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b="1" u="sng" dirty="0" err="1">
                <a:solidFill>
                  <a:srgbClr val="0000FF"/>
                </a:solidFill>
                <a:latin typeface="Cascadia Mono" panose="020B0609020000020004" pitchFamily="49" charset="0"/>
              </a:rPr>
              <a:t>partial</a:t>
            </a:r>
            <a:r>
              <a:rPr lang="pl-PL" sz="1800" b="1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class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MyJson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: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{ }</a:t>
            </a: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r>
              <a:rPr lang="pl-PL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publ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estJsonGe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)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{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Animal(</a:t>
            </a:r>
            <a:r>
              <a:rPr lang="en-US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Lion"</a:t>
            </a:r>
            <a:r>
              <a:rPr lang="pl-PL" sz="1800" dirty="0"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Kin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Mam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en-US" sz="1800" dirty="0" err="1">
                <a:solidFill>
                  <a:srgbClr val="2B91AF"/>
                </a:solidFill>
                <a:latin typeface="Cascadia Mono" panose="020B0609020000020004" pitchFamily="49" charset="0"/>
              </a:rPr>
              <a:t>AnimalFood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Carnivorou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y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[] utf8Json = JsonSerializer.SerializeToUtf8Bytes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   </a:t>
            </a: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wAnimal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JsonSerializer.Deserializ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utf8Json,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tex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}</a:t>
            </a:r>
            <a:endParaRPr lang="pl-PL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08E7DC-CC6F-4291-93CC-B53687ED30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9" y="980728"/>
            <a:ext cx="11700000" cy="504056"/>
          </a:xfrm>
        </p:spPr>
        <p:txBody>
          <a:bodyPr/>
          <a:lstStyle/>
          <a:p>
            <a:r>
              <a:rPr lang="pl-PL" dirty="0" err="1"/>
              <a:t>System.Text.Json</a:t>
            </a:r>
            <a:r>
              <a:rPr lang="pl-PL" dirty="0"/>
              <a:t> ge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B1FC6B-38F5-4A22-85DF-8B7E06E04B96}"/>
              </a:ext>
            </a:extLst>
          </p:cNvPr>
          <p:cNvCxnSpPr>
            <a:cxnSpLocks/>
          </p:cNvCxnSpPr>
          <p:nvPr/>
        </p:nvCxnSpPr>
        <p:spPr>
          <a:xfrm flipV="1">
            <a:off x="119336" y="3429000"/>
            <a:ext cx="1130424" cy="309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242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AC7CE-D658-43B4-BBD0-DB54C8BA8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Caller</a:t>
            </a:r>
            <a:r>
              <a:rPr lang="pl-PL" dirty="0"/>
              <a:t> Argument </a:t>
            </a:r>
            <a:r>
              <a:rPr lang="pl-PL" dirty="0" err="1"/>
              <a:t>Expression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A6D5CF-D334-40A6-A371-9A84223DDD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360" y="3717032"/>
            <a:ext cx="11700000" cy="2261721"/>
          </a:xfrm>
        </p:spPr>
        <p:txBody>
          <a:bodyPr/>
          <a:lstStyle/>
          <a:p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M</a:t>
            </a:r>
            <a:r>
              <a:rPr lang="en-US" dirty="0"/>
              <a:t>ay only be used on parameters with default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ltiple parameters marked with </a:t>
            </a:r>
            <a:r>
              <a:rPr lang="en-US" dirty="0" err="1"/>
              <a:t>CallerArgumentExpression</a:t>
            </a:r>
            <a:r>
              <a:rPr lang="en-US" dirty="0"/>
              <a:t> are permitted</a:t>
            </a:r>
            <a:endParaRPr lang="pl-P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/>
              <a:t>For </a:t>
            </a:r>
            <a:r>
              <a:rPr lang="pl-PL" dirty="0" err="1"/>
              <a:t>invalid</a:t>
            </a:r>
            <a:r>
              <a:rPr lang="pl-PL" dirty="0"/>
              <a:t> </a:t>
            </a:r>
            <a:r>
              <a:rPr lang="pl-PL" dirty="0" err="1"/>
              <a:t>parameter</a:t>
            </a:r>
            <a:r>
              <a:rPr lang="pl-PL" dirty="0"/>
              <a:t> </a:t>
            </a:r>
            <a:r>
              <a:rPr lang="pl-PL" dirty="0" err="1"/>
              <a:t>names</a:t>
            </a:r>
            <a:r>
              <a:rPr lang="en-US" dirty="0"/>
              <a:t> compiler will pass in an empty string</a:t>
            </a:r>
            <a:endParaRPr lang="pl-PL" dirty="0"/>
          </a:p>
          <a:p>
            <a:pPr marL="609600" lvl="1" indent="-342900">
              <a:buFont typeface="Arial" panose="020B0604020202020204" pitchFamily="34" charset="0"/>
              <a:buChar char="•"/>
            </a:pPr>
            <a:r>
              <a:rPr lang="pl-PL" dirty="0" err="1"/>
              <a:t>Sadly</a:t>
            </a:r>
            <a:r>
              <a:rPr lang="pl-PL" dirty="0"/>
              <a:t> no </a:t>
            </a:r>
            <a:r>
              <a:rPr lang="pl-PL" b="1" dirty="0" err="1"/>
              <a:t>nameof</a:t>
            </a:r>
            <a:r>
              <a:rPr lang="pl-PL" dirty="0"/>
              <a:t> </a:t>
            </a:r>
            <a:r>
              <a:rPr lang="pl-PL" dirty="0" err="1"/>
              <a:t>support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BEDFB-ABAF-4648-A8AD-FC755B5CA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aka</a:t>
            </a:r>
            <a:r>
              <a:rPr lang="pl-PL" dirty="0"/>
              <a:t>. </a:t>
            </a:r>
            <a:r>
              <a:rPr lang="pl-PL" dirty="0" err="1"/>
              <a:t>FluentAssertions</a:t>
            </a:r>
            <a:r>
              <a:rPr lang="pl-PL" dirty="0"/>
              <a:t> </a:t>
            </a:r>
            <a:r>
              <a:rPr lang="pl-PL" dirty="0" err="1"/>
              <a:t>vNext</a:t>
            </a:r>
            <a:r>
              <a:rPr lang="pl-PL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6DBE8B-AE06-42B8-B5B5-606CA84F46BA}"/>
              </a:ext>
            </a:extLst>
          </p:cNvPr>
          <p:cNvSpPr txBox="1"/>
          <p:nvPr/>
        </p:nvSpPr>
        <p:spPr>
          <a:xfrm>
            <a:off x="237550" y="1844824"/>
            <a:ext cx="11699999" cy="1423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static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oid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boo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		 [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allerArgumentExpress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] </a:t>
            </a:r>
            <a:r>
              <a:rPr lang="pl-PL" sz="20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20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null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       =&gt; </a:t>
            </a:r>
            <a:r>
              <a:rPr lang="pl-PL" sz="20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ebug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0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Assert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condition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20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essage</a:t>
            </a:r>
            <a:r>
              <a:rPr lang="pl-PL" sz="20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912939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35AA2-8EA5-4749-910E-773083050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nner-Loop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78CAC-3361-40B8-8B5C-4C650EF7F7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E39B5-B895-4431-92F3-2A37DF6596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MSBuild Speedup</a:t>
            </a:r>
          </a:p>
        </p:txBody>
      </p:sp>
      <p:pic>
        <p:nvPicPr>
          <p:cNvPr id="18434" name="Picture 2" descr=".NET 6 Performance Improvements">
            <a:extLst>
              <a:ext uri="{FF2B5EF4-FFF2-40B4-BE49-F238E27FC236}">
                <a16:creationId xmlns:a16="http://schemas.microsoft.com/office/drawing/2014/main" id="{F56BB67B-21B9-4FF4-8B43-ADD50A5E5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2204864"/>
            <a:ext cx="6896447" cy="3824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63795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831F664-7015-4DD1-8579-CD6CC90C60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emo</a:t>
            </a:r>
            <a:endParaRPr lang="en-GB" dirty="0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Discuss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grpSp>
        <p:nvGrpSpPr>
          <p:cNvPr id="6" name="Groupe 279">
            <a:extLst>
              <a:ext uri="{FF2B5EF4-FFF2-40B4-BE49-F238E27FC236}">
                <a16:creationId xmlns:a16="http://schemas.microsoft.com/office/drawing/2014/main" id="{59B71101-ECEA-4138-91DB-3C99686DEFCD}"/>
              </a:ext>
            </a:extLst>
          </p:cNvPr>
          <p:cNvGrpSpPr>
            <a:grpSpLocks noChangeAspect="1"/>
          </p:cNvGrpSpPr>
          <p:nvPr/>
        </p:nvGrpSpPr>
        <p:grpSpPr>
          <a:xfrm>
            <a:off x="911424" y="2191647"/>
            <a:ext cx="2691897" cy="2520280"/>
            <a:chOff x="9953626" y="496887"/>
            <a:chExt cx="871538" cy="815975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727AD819-98A2-4795-A548-7B6ED32EB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26" y="496887"/>
              <a:ext cx="871538" cy="815975"/>
            </a:xfrm>
            <a:custGeom>
              <a:avLst/>
              <a:gdLst>
                <a:gd name="T0" fmla="*/ 33 w 232"/>
                <a:gd name="T1" fmla="*/ 169 h 217"/>
                <a:gd name="T2" fmla="*/ 56 w 232"/>
                <a:gd name="T3" fmla="*/ 32 h 217"/>
                <a:gd name="T4" fmla="*/ 199 w 232"/>
                <a:gd name="T5" fmla="*/ 52 h 217"/>
                <a:gd name="T6" fmla="*/ 173 w 232"/>
                <a:gd name="T7" fmla="*/ 184 h 217"/>
                <a:gd name="T8" fmla="*/ 33 w 232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217">
                  <a:moveTo>
                    <a:pt x="33" y="169"/>
                  </a:moveTo>
                  <a:cubicBezTo>
                    <a:pt x="0" y="126"/>
                    <a:pt x="10" y="64"/>
                    <a:pt x="56" y="32"/>
                  </a:cubicBezTo>
                  <a:cubicBezTo>
                    <a:pt x="101" y="0"/>
                    <a:pt x="165" y="9"/>
                    <a:pt x="199" y="52"/>
                  </a:cubicBezTo>
                  <a:cubicBezTo>
                    <a:pt x="232" y="96"/>
                    <a:pt x="218" y="152"/>
                    <a:pt x="173" y="184"/>
                  </a:cubicBezTo>
                  <a:cubicBezTo>
                    <a:pt x="127" y="217"/>
                    <a:pt x="67" y="213"/>
                    <a:pt x="33" y="169"/>
                  </a:cubicBezTo>
                </a:path>
              </a:pathLst>
            </a:custGeom>
            <a:solidFill>
              <a:srgbClr val="0075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91">
              <a:extLst>
                <a:ext uri="{FF2B5EF4-FFF2-40B4-BE49-F238E27FC236}">
                  <a16:creationId xmlns:a16="http://schemas.microsoft.com/office/drawing/2014/main" id="{D896F2A2-71A9-46D6-B9E6-F1AE33BF1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714375"/>
              <a:ext cx="242888" cy="203200"/>
            </a:xfrm>
            <a:custGeom>
              <a:avLst/>
              <a:gdLst>
                <a:gd name="T0" fmla="*/ 31 w 65"/>
                <a:gd name="T1" fmla="*/ 43 h 54"/>
                <a:gd name="T2" fmla="*/ 0 w 65"/>
                <a:gd name="T3" fmla="*/ 21 h 54"/>
                <a:gd name="T4" fmla="*/ 30 w 65"/>
                <a:gd name="T5" fmla="*/ 0 h 54"/>
                <a:gd name="T6" fmla="*/ 31 w 65"/>
                <a:gd name="T7" fmla="*/ 12 h 54"/>
                <a:gd name="T8" fmla="*/ 42 w 65"/>
                <a:gd name="T9" fmla="*/ 12 h 54"/>
                <a:gd name="T10" fmla="*/ 65 w 65"/>
                <a:gd name="T11" fmla="*/ 32 h 54"/>
                <a:gd name="T12" fmla="*/ 52 w 65"/>
                <a:gd name="T13" fmla="*/ 54 h 54"/>
                <a:gd name="T14" fmla="*/ 52 w 65"/>
                <a:gd name="T15" fmla="*/ 39 h 54"/>
                <a:gd name="T16" fmla="*/ 41 w 65"/>
                <a:gd name="T17" fmla="*/ 31 h 54"/>
                <a:gd name="T18" fmla="*/ 31 w 65"/>
                <a:gd name="T19" fmla="*/ 31 h 54"/>
                <a:gd name="T20" fmla="*/ 31 w 65"/>
                <a:gd name="T21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4">
                  <a:moveTo>
                    <a:pt x="31" y="4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6" y="12"/>
                    <a:pt x="42" y="12"/>
                  </a:cubicBezTo>
                  <a:cubicBezTo>
                    <a:pt x="51" y="12"/>
                    <a:pt x="65" y="19"/>
                    <a:pt x="65" y="32"/>
                  </a:cubicBezTo>
                  <a:cubicBezTo>
                    <a:pt x="65" y="43"/>
                    <a:pt x="56" y="53"/>
                    <a:pt x="52" y="54"/>
                  </a:cubicBezTo>
                  <a:cubicBezTo>
                    <a:pt x="52" y="54"/>
                    <a:pt x="53" y="42"/>
                    <a:pt x="52" y="39"/>
                  </a:cubicBezTo>
                  <a:cubicBezTo>
                    <a:pt x="52" y="38"/>
                    <a:pt x="51" y="31"/>
                    <a:pt x="41" y="31"/>
                  </a:cubicBezTo>
                  <a:cubicBezTo>
                    <a:pt x="31" y="31"/>
                    <a:pt x="31" y="31"/>
                    <a:pt x="31" y="31"/>
                  </a:cubicBezTo>
                  <a:lnTo>
                    <a:pt x="31" y="43"/>
                  </a:lnTo>
                  <a:close/>
                </a:path>
              </a:pathLst>
            </a:custGeom>
            <a:solidFill>
              <a:srgbClr val="00B0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92">
              <a:extLst>
                <a:ext uri="{FF2B5EF4-FFF2-40B4-BE49-F238E27FC236}">
                  <a16:creationId xmlns:a16="http://schemas.microsoft.com/office/drawing/2014/main" id="{014F225C-1773-4236-B0FB-961BFAE22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6363" y="887412"/>
              <a:ext cx="242888" cy="206375"/>
            </a:xfrm>
            <a:custGeom>
              <a:avLst/>
              <a:gdLst>
                <a:gd name="T0" fmla="*/ 34 w 65"/>
                <a:gd name="T1" fmla="*/ 24 h 55"/>
                <a:gd name="T2" fmla="*/ 24 w 65"/>
                <a:gd name="T3" fmla="*/ 24 h 55"/>
                <a:gd name="T4" fmla="*/ 12 w 65"/>
                <a:gd name="T5" fmla="*/ 15 h 55"/>
                <a:gd name="T6" fmla="*/ 13 w 65"/>
                <a:gd name="T7" fmla="*/ 0 h 55"/>
                <a:gd name="T8" fmla="*/ 0 w 65"/>
                <a:gd name="T9" fmla="*/ 22 h 55"/>
                <a:gd name="T10" fmla="*/ 22 w 65"/>
                <a:gd name="T11" fmla="*/ 43 h 55"/>
                <a:gd name="T12" fmla="*/ 34 w 65"/>
                <a:gd name="T13" fmla="*/ 43 h 55"/>
                <a:gd name="T14" fmla="*/ 34 w 65"/>
                <a:gd name="T15" fmla="*/ 55 h 55"/>
                <a:gd name="T16" fmla="*/ 65 w 65"/>
                <a:gd name="T17" fmla="*/ 33 h 55"/>
                <a:gd name="T18" fmla="*/ 34 w 65"/>
                <a:gd name="T19" fmla="*/ 12 h 55"/>
                <a:gd name="T20" fmla="*/ 34 w 65"/>
                <a:gd name="T21" fmla="*/ 2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5">
                  <a:moveTo>
                    <a:pt x="34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13" y="24"/>
                    <a:pt x="13" y="17"/>
                    <a:pt x="12" y="15"/>
                  </a:cubicBezTo>
                  <a:cubicBezTo>
                    <a:pt x="12" y="13"/>
                    <a:pt x="13" y="0"/>
                    <a:pt x="13" y="0"/>
                  </a:cubicBezTo>
                  <a:cubicBezTo>
                    <a:pt x="8" y="2"/>
                    <a:pt x="0" y="12"/>
                    <a:pt x="0" y="22"/>
                  </a:cubicBezTo>
                  <a:cubicBezTo>
                    <a:pt x="0" y="36"/>
                    <a:pt x="14" y="43"/>
                    <a:pt x="22" y="43"/>
                  </a:cubicBezTo>
                  <a:cubicBezTo>
                    <a:pt x="28" y="43"/>
                    <a:pt x="34" y="43"/>
                    <a:pt x="34" y="43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34" y="12"/>
                    <a:pt x="34" y="12"/>
                    <a:pt x="34" y="12"/>
                  </a:cubicBezTo>
                  <a:lnTo>
                    <a:pt x="34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648795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>
            <a:extLst>
              <a:ext uri="{FF2B5EF4-FFF2-40B4-BE49-F238E27FC236}">
                <a16:creationId xmlns:a16="http://schemas.microsoft.com/office/drawing/2014/main" id="{303A75A8-FCE0-4121-B68F-DBCEADABDE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851A46-C6AE-4E73-8B8D-CDC0CD9F32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/>
              <a:t>The end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CAF6B1-418A-42BF-A94C-AEA323307A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20136" y="5301208"/>
            <a:ext cx="4391347" cy="383903"/>
          </a:xfrm>
        </p:spPr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966989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30EC-A7BE-4E6C-8AF2-7EF11AF7C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9700A-6A3D-4762-8349-E87E48E15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3557865"/>
          </a:xfrm>
        </p:spPr>
        <p:txBody>
          <a:bodyPr/>
          <a:lstStyle/>
          <a:p>
            <a:r>
              <a:rPr lang="pl-PL" sz="1800" dirty="0">
                <a:latin typeface="Cascadia Code" panose="020B0609020000020004" pitchFamily="49" charset="0"/>
                <a:cs typeface="Cascadia Code" panose="020B0609020000020004" pitchFamily="49" charset="0"/>
              </a:rPr>
              <a:t>	dotnet add package </a:t>
            </a:r>
            <a:r>
              <a:rPr lang="pl-PL" sz="1800" u="sng" dirty="0">
                <a:latin typeface="Cascadia Code" panose="020B0609020000020004" pitchFamily="49" charset="0"/>
                <a:cs typeface="Cascadia Code" panose="020B0609020000020004" pitchFamily="49" charset="0"/>
                <a:hlinkClick r:id="rId2"/>
              </a:rPr>
              <a:t>Microsoft.DotNet.PackageValidation</a:t>
            </a:r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r>
              <a:rPr lang="pl-PL" sz="1400" u="sng" dirty="0">
                <a:latin typeface="Cascadia Code" panose="020B0609020000020004" pitchFamily="49" charset="0"/>
                <a:cs typeface="Cascadia Code" panose="020B0609020000020004" pitchFamily="49" charset="0"/>
              </a:rPr>
              <a:t>&lt;Sdk Name="Microsoft.DotNet.PackageValidation" Version="1.0.0-preview.5.21302.8" /&gt;</a:t>
            </a:r>
          </a:p>
          <a:p>
            <a:endParaRPr lang="pl-PL" sz="1800" u="sng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r>
              <a:rPr lang="pl-PL" sz="1400" u="sng" dirty="0">
                <a:latin typeface="Cascadia Code" panose="020B0609020000020004" pitchFamily="49" charset="0"/>
                <a:cs typeface="Cascadia Code" panose="020B0609020000020004" pitchFamily="49" charset="0"/>
              </a:rPr>
              <a:t>&lt;PackageValidationBaselineVersion&gt;1.0.0&lt;/PackageValidationBaselineVersion&gt;</a:t>
            </a:r>
            <a:endParaRPr lang="pl-PL" sz="1600" dirty="0"/>
          </a:p>
          <a:p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breaking changes across</a:t>
            </a:r>
            <a:r>
              <a:rPr lang="pl-PL" dirty="0"/>
              <a:t> package</a:t>
            </a:r>
            <a:r>
              <a:rPr lang="en-US" dirty="0"/>
              <a:t> versions.</a:t>
            </a:r>
            <a:endParaRPr lang="pl-PL" dirty="0"/>
          </a:p>
          <a:p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C0A8AC-AC59-43D1-BF44-AECC52EA46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6A1F1B-EE6B-490B-937F-0100214512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5228" y="3790553"/>
            <a:ext cx="5762625" cy="7905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E39B18-9BA8-4597-9503-9CA6588EB5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1488"/>
          <a:stretch/>
        </p:blipFill>
        <p:spPr>
          <a:xfrm>
            <a:off x="2125228" y="5539202"/>
            <a:ext cx="58483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5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ADB35-BF03-43AD-A970-6A4F3D02E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7D2B2-3B9E-4F84-999D-929ADFFE7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2024" y="1916832"/>
            <a:ext cx="5143500" cy="192405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058B5E-02F6-435B-A63D-D42FBB7B19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5940660" cy="4349953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l-PL" dirty="0"/>
              <a:t>Inconsistent API between target framewor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7133BC-9A1C-430C-ACDE-CF8FC7F942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D9B94B-BB69-442A-BCD9-A0D4AAF634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593"/>
          <a:stretch/>
        </p:blipFill>
        <p:spPr>
          <a:xfrm>
            <a:off x="6312025" y="4293096"/>
            <a:ext cx="5143500" cy="177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16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ADB35-BF03-43AD-A970-6A4F3D02E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ackage Validation Tool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47816C-07F1-44C4-A49E-0054B91BC6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033"/>
          <a:stretch/>
        </p:blipFill>
        <p:spPr>
          <a:xfrm>
            <a:off x="5591944" y="1240591"/>
            <a:ext cx="5667375" cy="20288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058B5E-02F6-435B-A63D-D42FBB7B19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6660740" cy="4466201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pl-PL" dirty="0"/>
              <a:t>Inconsistent API on different runtim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pl-PL" dirty="0"/>
          </a:p>
          <a:p>
            <a:r>
              <a:rPr lang="pl-PL" sz="1000" dirty="0">
                <a:hlinkClick r:id="rId3"/>
              </a:rPr>
              <a:t>https://devblogs.microsoft.com/dotnet/package-validation/</a:t>
            </a:r>
            <a:r>
              <a:rPr lang="pl-PL" sz="1000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7133BC-9A1C-430C-ACDE-CF8FC7F942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E7D205-9F2A-46BA-8F77-4FA3671D0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1944" y="3717032"/>
            <a:ext cx="5667375" cy="280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5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854009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dirty="0" err="1"/>
              <a:t>DateOnly</a:t>
            </a:r>
            <a:br>
              <a:rPr lang="pl-PL" dirty="0"/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021, 10, 19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Lin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at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738081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date2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yNumbe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0..3_652_058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DateOnly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romDateTime</a:t>
            </a:r>
            <a:r>
              <a:rPr lang="pl-PL" dirty="0">
                <a:solidFill>
                  <a:srgbClr val="00008B"/>
                </a:solidFill>
                <a:latin typeface="Cascadia Mono" panose="020B0609020000020004" pitchFamily="49" charset="0"/>
              </a:rPr>
              <a:t>(…)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18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Only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2, 13, 14, 140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long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cks =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time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Ticks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439941400000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time2ms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0 * 1000 * 2); 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 </a:t>
            </a:r>
            <a:r>
              <a:rPr lang="en-US" sz="18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ms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max =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800080"/>
                </a:solidFill>
                <a:latin typeface="Cascadia Mono" panose="020B0609020000020004" pitchFamily="49" charset="0"/>
              </a:rPr>
              <a:t>MaxValue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r>
              <a:rPr lang="en-US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3:59:59.999</a:t>
            </a: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8, 1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1800" dirty="0">
                <a:solidFill>
                  <a:srgbClr val="0000FF"/>
                </a:solidFill>
                <a:latin typeface="Cascadia Mono" panose="020B0609020000020004" pitchFamily="49" charset="0"/>
              </a:rPr>
              <a:t>new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en-US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16, 25)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Span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ifferenc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finish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>
                <a:solidFill>
                  <a:srgbClr val="008B8B"/>
                </a:solidFill>
                <a:latin typeface="Cascadia Mono" panose="020B0609020000020004" pitchFamily="49" charset="0"/>
              </a:rPr>
              <a:t>-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startedAt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1800" dirty="0" err="1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parsed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=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TimeOnly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Parse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10:23 PM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, </a:t>
            </a:r>
            <a:r>
              <a:rPr lang="pl-PL" sz="18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ultureInfo</a:t>
            </a:r>
            <a:r>
              <a:rPr lang="pl-PL" sz="18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18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GetCultureInfo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 err="1">
                <a:solidFill>
                  <a:srgbClr val="A31515"/>
                </a:solidFill>
                <a:latin typeface="Cascadia Mono" panose="020B0609020000020004" pitchFamily="49" charset="0"/>
              </a:rPr>
              <a:t>pl-pl</a:t>
            </a:r>
            <a:r>
              <a:rPr lang="pl-PL" sz="1800" dirty="0">
                <a:solidFill>
                  <a:srgbClr val="A31515"/>
                </a:solidFill>
                <a:latin typeface="Cascadia Mono" panose="020B0609020000020004" pitchFamily="49" charset="0"/>
              </a:rPr>
              <a:t>"</a:t>
            </a:r>
            <a: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1800" dirty="0">
                <a:solidFill>
                  <a:srgbClr val="008000"/>
                </a:solidFill>
                <a:latin typeface="Cascadia Mono" panose="020B0609020000020004" pitchFamily="49" charset="0"/>
              </a:rPr>
              <a:t>//22:23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l-PL" dirty="0" err="1"/>
              <a:t>Date</a:t>
            </a:r>
            <a:r>
              <a:rPr lang="pl-PL" dirty="0"/>
              <a:t>/Time</a:t>
            </a:r>
          </a:p>
        </p:txBody>
      </p:sp>
    </p:spTree>
    <p:extLst>
      <p:ext uri="{BB962C8B-B14F-4D97-AF65-F5344CB8AC3E}">
        <p14:creationId xmlns:p14="http://schemas.microsoft.com/office/powerpoint/2010/main" val="709302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19AB-231E-4DED-A3A8-74EDBC951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PI </a:t>
            </a:r>
            <a:r>
              <a:rPr lang="pl-PL" dirty="0" err="1"/>
              <a:t>Improvements</a:t>
            </a:r>
            <a:endParaRPr lang="pl-P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2B983E-D84A-44AC-A7C8-839819D527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484784"/>
            <a:ext cx="10333148" cy="5184575"/>
          </a:xfrm>
        </p:spPr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 = </a:t>
            </a:r>
            <a:r>
              <a:rPr lang="en-US" sz="26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Enumerable</a:t>
            </a:r>
            <a:r>
              <a:rPr lang="en-US" sz="26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6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Range</a:t>
            </a:r>
            <a:r>
              <a:rPr lang="en-US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(1, 100)</a:t>
            </a:r>
            <a: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  <a:t>;</a:t>
            </a:r>
            <a:br>
              <a:rPr lang="pl-PL" sz="26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2600" dirty="0" err="1"/>
              <a:t>Chunk</a:t>
            </a:r>
            <a:br>
              <a:rPr lang="pl-PL" sz="2600" dirty="0"/>
            </a:b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var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chunks =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en-US" sz="2300" dirty="0">
                <a:solidFill>
                  <a:srgbClr val="008B8B"/>
                </a:solidFill>
                <a:latin typeface="Cascadia Mono" panose="020B0609020000020004" pitchFamily="49" charset="0"/>
              </a:rPr>
              <a:t>Chunk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8);</a:t>
            </a:r>
            <a:br>
              <a:rPr lang="pl-PL" sz="2600" dirty="0"/>
            </a:br>
            <a:r>
              <a:rPr lang="pl-PL" sz="2600" dirty="0"/>
              <a:t>1, 2, 3, 4, 5, 6, 7, 8</a:t>
            </a:r>
            <a:br>
              <a:rPr lang="pl-PL" sz="2600" dirty="0"/>
            </a:br>
            <a:r>
              <a:rPr lang="pl-PL" sz="2600" dirty="0"/>
              <a:t>…</a:t>
            </a:r>
            <a:br>
              <a:rPr lang="pl-PL" sz="2600" dirty="0"/>
            </a:br>
            <a:r>
              <a:rPr lang="pl-PL" sz="2600" dirty="0"/>
              <a:t>89, 90, 91, 92, 93, 94, 95, 96</a:t>
            </a:r>
            <a:br>
              <a:rPr lang="pl-PL" sz="2600" dirty="0"/>
            </a:br>
            <a:r>
              <a:rPr lang="pl-PL" sz="2600" dirty="0"/>
              <a:t>97, 98, 99, 100</a:t>
            </a:r>
            <a:br>
              <a:rPr lang="pl-PL" sz="2600" dirty="0"/>
            </a:br>
            <a:br>
              <a:rPr lang="pl-PL" sz="2600" dirty="0"/>
            </a:br>
            <a:endParaRPr lang="pl-PL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First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500, -1); 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en-US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umbers.</a:t>
            </a:r>
            <a:r>
              <a:rPr lang="en-US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SingleOrDefaul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x &gt; 99, -1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record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en-US" sz="2300" dirty="0">
                <a:solidFill>
                  <a:srgbClr val="00008B"/>
                </a:solidFill>
                <a:latin typeface="Cascadia Mono" panose="020B0609020000020004" pitchFamily="49" charset="0"/>
              </a:rPr>
              <a:t>Person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string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Name, </a:t>
            </a:r>
            <a:r>
              <a:rPr lang="en-US" sz="2300" dirty="0">
                <a:solidFill>
                  <a:srgbClr val="0000FF"/>
                </a:solidFill>
                <a:latin typeface="Cascadia Mono" panose="020B0609020000020004" pitchFamily="49" charset="0"/>
              </a:rPr>
              <a:t>int</a:t>
            </a:r>
            <a:r>
              <a:rPr lang="en-US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Age);</a:t>
            </a:r>
            <a:b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r>
              <a:rPr lang="pl-PL" sz="2300" dirty="0" err="1">
                <a:solidFill>
                  <a:srgbClr val="00008B"/>
                </a:solidFill>
                <a:latin typeface="Cascadia Mono" panose="020B0609020000020004" pitchFamily="49" charset="0"/>
              </a:rPr>
              <a:t>Console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.</a:t>
            </a:r>
            <a:r>
              <a:rPr lang="pl-PL" sz="2300" dirty="0" err="1">
                <a:solidFill>
                  <a:srgbClr val="008B8B"/>
                </a:solidFill>
                <a:latin typeface="Cascadia Mono" panose="020B0609020000020004" pitchFamily="49" charset="0"/>
              </a:rPr>
              <a:t>Writ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developers.MaxBy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(x =&gt;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x.Age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)); 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//Person { </a:t>
            </a:r>
            <a:r>
              <a:rPr lang="pl-PL" sz="2300" dirty="0" err="1">
                <a:solidFill>
                  <a:srgbClr val="008000"/>
                </a:solidFill>
                <a:latin typeface="Cascadia Mono" panose="020B0609020000020004" pitchFamily="49" charset="0"/>
              </a:rPr>
              <a:t>Name</a:t>
            </a:r>
            <a:r>
              <a:rPr lang="pl-PL" sz="2300" dirty="0">
                <a:solidFill>
                  <a:srgbClr val="008000"/>
                </a:solidFill>
                <a:latin typeface="Cascadia Mono" panose="020B0609020000020004" pitchFamily="49" charset="0"/>
              </a:rPr>
              <a:t> = Przemek K, Age = 40 }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inBy</a:t>
            </a: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sz="2300" dirty="0">
              <a:solidFill>
                <a:srgbClr val="000000"/>
              </a:solidFill>
              <a:latin typeface="Cascadia Mono" panose="020B0609020000020004" pitchFamily="49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Who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eeds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MoreLinq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 </a:t>
            </a:r>
            <a:r>
              <a:rPr lang="pl-PL" sz="2300" dirty="0" err="1">
                <a:solidFill>
                  <a:srgbClr val="000000"/>
                </a:solidFill>
                <a:latin typeface="Cascadia Mono" panose="020B0609020000020004" pitchFamily="49" charset="0"/>
              </a:rPr>
              <a:t>now</a:t>
            </a:r>
            <a:r>
              <a:rPr lang="pl-PL" sz="2300" dirty="0">
                <a:solidFill>
                  <a:srgbClr val="000000"/>
                </a:solidFill>
                <a:latin typeface="Cascadia Mono" panose="020B0609020000020004" pitchFamily="49" charset="0"/>
              </a:rPr>
              <a:t>? </a:t>
            </a: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sz="1800" dirty="0">
                <a:solidFill>
                  <a:srgbClr val="000000"/>
                </a:solidFill>
                <a:latin typeface="Cascadia Mono" panose="020B0609020000020004" pitchFamily="49" charset="0"/>
              </a:rPr>
            </a:br>
            <a:br>
              <a:rPr lang="pl-PL" dirty="0"/>
            </a:br>
            <a:r>
              <a:rPr lang="pl-PL" dirty="0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376D9-3CBE-461A-B702-276A6BA0A9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348" y="925044"/>
            <a:ext cx="11700000" cy="504056"/>
          </a:xfrm>
        </p:spPr>
        <p:txBody>
          <a:bodyPr/>
          <a:lstStyle/>
          <a:p>
            <a:r>
              <a:rPr lang="pl-PL" dirty="0"/>
              <a:t>LINQ</a:t>
            </a:r>
          </a:p>
        </p:txBody>
      </p:sp>
    </p:spTree>
    <p:extLst>
      <p:ext uri="{BB962C8B-B14F-4D97-AF65-F5344CB8AC3E}">
        <p14:creationId xmlns:p14="http://schemas.microsoft.com/office/powerpoint/2010/main" val="3285490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81FE2EE4-55EF-4CFA-86A2-C2460F4324DA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6A304E9255484492BA198CE2082999" ma:contentTypeVersion="2" ma:contentTypeDescription="Create a new document." ma:contentTypeScope="" ma:versionID="59b1ce6d0c37e32ff00e5fa2d1432dd5">
  <xsd:schema xmlns:xsd="http://www.w3.org/2001/XMLSchema" xmlns:xs="http://www.w3.org/2001/XMLSchema" xmlns:p="http://schemas.microsoft.com/office/2006/metadata/properties" xmlns:ns3="11d38936-4d58-4fb5-ba77-ab3c6b5ac5f3" targetNamespace="http://schemas.microsoft.com/office/2006/metadata/properties" ma:root="true" ma:fieldsID="411bbe26ff1265c85cdd2f47c83ae407" ns3:_="">
    <xsd:import namespace="11d38936-4d58-4fb5-ba77-ab3c6b5ac5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38936-4d58-4fb5-ba77-ab3c6b5ac5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EB55769-BD2D-476A-8F5F-FD29B57118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d38936-4d58-4fb5-ba77-ab3c6b5ac5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7B9EFC-266E-4B98-9E25-D08BE71B6C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6CC5F9-94B3-49D7-BDA0-DD33E319F2D6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11d38936-4d58-4fb5-ba77-ab3c6b5ac5f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42</TotalTime>
  <Words>2676</Words>
  <Application>Microsoft Office PowerPoint</Application>
  <PresentationFormat>Widescreen</PresentationFormat>
  <Paragraphs>355</Paragraphs>
  <Slides>4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2" baseType="lpstr">
      <vt:lpstr>Arial</vt:lpstr>
      <vt:lpstr>Cascadia Code</vt:lpstr>
      <vt:lpstr>Cascadia Mono</vt:lpstr>
      <vt:lpstr>Segoe UI</vt:lpstr>
      <vt:lpstr>Verdana</vt:lpstr>
      <vt:lpstr>Wingdings</vt:lpstr>
      <vt:lpstr>Capgemini Master</vt:lpstr>
      <vt:lpstr>Section break</vt:lpstr>
      <vt:lpstr>Cover options</vt:lpstr>
      <vt:lpstr>think-cell Slide</vt:lpstr>
      <vt:lpstr>PowerPoint Presentation</vt:lpstr>
      <vt:lpstr>Agenda</vt:lpstr>
      <vt:lpstr>Inner-Loop Performance</vt:lpstr>
      <vt:lpstr>Inner-Loop Performance</vt:lpstr>
      <vt:lpstr>Package Validation Tooling</vt:lpstr>
      <vt:lpstr>Package Validation Tooling</vt:lpstr>
      <vt:lpstr>Package Validation Tooling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API Improvements</vt:lpstr>
      <vt:lpstr>C# 10 – head line features </vt:lpstr>
      <vt:lpstr>Interpolated string handlers</vt:lpstr>
      <vt:lpstr>Constant Interpolated Strings</vt:lpstr>
      <vt:lpstr>File Scoped Namespaces</vt:lpstr>
      <vt:lpstr>Global Using Statements</vt:lpstr>
      <vt:lpstr>Implicit Using Statements </vt:lpstr>
      <vt:lpstr>Minimal APIs</vt:lpstr>
      <vt:lpstr>Record struct</vt:lpstr>
      <vt:lpstr>Record improvements </vt:lpstr>
      <vt:lpstr>„Record” improvements </vt:lpstr>
      <vt:lpstr>Extended property patterns</vt:lpstr>
      <vt:lpstr>Lambda enhancements</vt:lpstr>
      <vt:lpstr>Performance improvements </vt:lpstr>
      <vt:lpstr>Performance improvements </vt:lpstr>
      <vt:lpstr>Code generator</vt:lpstr>
      <vt:lpstr>Code generator use</vt:lpstr>
      <vt:lpstr>Code generator use</vt:lpstr>
      <vt:lpstr>Code generator use</vt:lpstr>
      <vt:lpstr>Code generator use</vt:lpstr>
      <vt:lpstr>Caller Argument Express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Capgemini</dc:creator>
  <cp:lastModifiedBy>Michał Bryłka</cp:lastModifiedBy>
  <cp:revision>131</cp:revision>
  <dcterms:created xsi:type="dcterms:W3CDTF">2019-03-14T14:38:54Z</dcterms:created>
  <dcterms:modified xsi:type="dcterms:W3CDTF">2021-11-30T13:4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6A304E9255484492BA198CE2082999</vt:lpwstr>
  </property>
</Properties>
</file>